
<file path=[Content_Types].xml><?xml version="1.0" encoding="utf-8"?>
<Types xmlns="http://schemas.openxmlformats.org/package/2006/content-types">
  <Override PartName="/ppt/slides/slide29.xml" ContentType="application/vnd.openxmlformats-officedocument.presentationml.slide+xml"/>
  <Override PartName="/ppt/diagrams/drawing2.xml" ContentType="application/vnd.ms-office.drawingml.diagramDrawing+xml"/>
  <Override PartName="/ppt/notesSlides/notesSlide2.xml" ContentType="application/vnd.openxmlformats-officedocument.presentationml.notesSlide+xml"/>
  <Override PartName="/customXml/itemProps1.xml" ContentType="application/vnd.openxmlformats-officedocument.customXmlProperties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s/slide36.xml" ContentType="application/vnd.openxmlformats-officedocument.presentationml.slide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diagrams/quickStyle2.xml" ContentType="application/vnd.openxmlformats-officedocument.drawingml.diagramStyle+xml"/>
  <Override PartName="/ppt/slides/slide25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Default Extension="xml" ContentType="application/xml"/>
  <Override PartName="/ppt/slides/slide14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s/slide10.xml" ContentType="application/vnd.openxmlformats-officedocument.presentationml.slide+xml"/>
  <Override PartName="/ppt/slides/slide21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20.xml" ContentType="application/vnd.openxmlformats-officedocument.presentationml.slideLayout+xml"/>
  <Override PartName="/ppt/diagrams/layout5.xml" ContentType="application/vnd.openxmlformats-officedocument.drawingml.diagramLayout+xml"/>
  <Override PartName="/ppt/diagrams/data6.xml" ContentType="application/vnd.openxmlformats-officedocument.drawingml.diagramData+xml"/>
  <Override PartName="/docProps/custom.xml" ContentType="application/vnd.openxmlformats-officedocument.custom-properties+xml"/>
  <Override PartName="/ppt/notesSlides/notesSlide12.xml" ContentType="application/vnd.openxmlformats-officedocument.presentationml.notesSlide+xml"/>
  <Override PartName="/ppt/diagrams/layout1.xml" ContentType="application/vnd.openxmlformats-officedocument.drawingml.diagramLayout+xml"/>
  <Override PartName="/ppt/diagrams/data2.xml" ContentType="application/vnd.openxmlformats-officedocument.drawingml.diagramData+xml"/>
  <Override PartName="/ppt/notesSlides/notesSlide7.xml" ContentType="application/vnd.openxmlformats-officedocument.presentationml.notesSlide+xml"/>
  <Override PartName="/ppt/notesSlides/notesSlide10.xml" ContentType="application/vnd.openxmlformats-officedocument.presentationml.notesSlide+xml"/>
  <Override PartName="/ppt/diagrams/colors6.xml" ContentType="application/vnd.openxmlformats-officedocument.drawingml.diagramColors+xml"/>
  <Override PartName="/ppt/diagrams/drawing7.xml" ContentType="application/vnd.ms-office.drawingml.diagramDrawing+xml"/>
  <Override PartName="/ppt/slides/slide7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notesSlides/notesSlide5.xml" ContentType="application/vnd.openxmlformats-officedocument.presentationml.notesSlide+xml"/>
  <Override PartName="/ppt/diagrams/colors4.xml" ContentType="application/vnd.openxmlformats-officedocument.drawingml.diagramColors+xml"/>
  <Override PartName="/ppt/diagrams/drawing5.xml" ContentType="application/vnd.ms-office.drawingml.diagramDrawing+xml"/>
  <Override PartName="/ppt/diagrams/quickStyle7.xml" ContentType="application/vnd.openxmlformats-officedocument.drawingml.diagramStyle+xml"/>
  <Override PartName="/customXml/itemProps2.xml" ContentType="application/vnd.openxmlformats-officedocument.customXmlProperties+xml"/>
  <Override PartName="/ppt/slideMasters/slideMaster2.xml" ContentType="application/vnd.openxmlformats-officedocument.presentationml.slideMaster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s/slide28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notesSlides/notesSlide1.xml" ContentType="application/vnd.openxmlformats-officedocument.presentationml.notesSlide+xml"/>
  <Override PartName="/ppt/diagrams/colors2.xml" ContentType="application/vnd.openxmlformats-officedocument.drawingml.diagramColors+xml"/>
  <Override PartName="/ppt/notesSlides/notesSlide3.xml" ContentType="application/vnd.openxmlformats-officedocument.presentationml.notesSlide+xml"/>
  <Override PartName="/ppt/diagrams/drawing3.xml" ContentType="application/vnd.ms-office.drawingml.diagramDrawing+xml"/>
  <Override PartName="/ppt/diagrams/quickStyle5.xml" ContentType="application/vnd.openxmlformats-officedocument.drawingml.diagramStyle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s/slide26.xml" ContentType="application/vnd.openxmlformats-officedocument.presentationml.slide+xml"/>
  <Override PartName="/ppt/slides/slide37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diagrams/drawing1.xml" ContentType="application/vnd.ms-office.drawingml.diagramDrawing+xml"/>
  <Override PartName="/ppt/diagrams/quickStyle3.xml" ContentType="application/vnd.openxmlformats-officedocument.drawingml.diagramStyle+xml"/>
  <Override PartName="/ppt/revisionInfo.xml" ContentType="application/vnd.ms-powerpoint.revisioninfo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s/slide24.xml" ContentType="application/vnd.openxmlformats-officedocument.presentationml.slide+xml"/>
  <Override PartName="/ppt/slides/slide33.xml" ContentType="application/vnd.openxmlformats-officedocument.presentationml.slide+xml"/>
  <Override PartName="/ppt/slides/slide35.xml" ContentType="application/vnd.openxmlformats-officedocument.presentationml.slide+xml"/>
  <Override PartName="/ppt/slideLayouts/slideLayout3.xml" ContentType="application/vnd.openxmlformats-officedocument.presentationml.slideLayout+xml"/>
  <Override PartName="/ppt/slideLayouts/slideLayout16.xml" ContentType="application/vnd.openxmlformats-officedocument.presentationml.slideLayout+xml"/>
  <Default Extension="jpeg" ContentType="image/jpeg"/>
  <Override PartName="/ppt/diagrams/quickStyle1.xml" ContentType="application/vnd.openxmlformats-officedocument.drawingml.diagramStyle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22.xml" ContentType="application/vnd.openxmlformats-officedocument.presentationml.slide+xml"/>
  <Override PartName="/ppt/slides/slide31.xml" ContentType="application/vnd.openxmlformats-officedocument.presentationml.slide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23.xml" ContentType="application/vnd.openxmlformats-officedocument.presentationml.slideLayout+xml"/>
  <Override PartName="/ppt/diagrams/layout6.xml" ContentType="application/vnd.openxmlformats-officedocument.drawingml.diagramLayout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20.xml" ContentType="application/vnd.openxmlformats-officedocument.presentationml.slide+xml"/>
  <Override PartName="/ppt/slideLayouts/slideLayout12.xml" ContentType="application/vnd.openxmlformats-officedocument.presentationml.slideLayout+xml"/>
  <Override PartName="/ppt/slideLayouts/slideLayout21.xml" ContentType="application/vnd.openxmlformats-officedocument.presentationml.slideLayout+xml"/>
  <Override PartName="/ppt/diagrams/layout4.xml" ContentType="application/vnd.openxmlformats-officedocument.drawingml.diagramLayout+xml"/>
  <Override PartName="/ppt/diagrams/data7.xml" ContentType="application/vnd.openxmlformats-officedocument.drawingml.diagramData+xml"/>
  <Default Extension="wdp" ContentType="image/vnd.ms-photo"/>
  <Override PartName="/ppt/slideLayouts/slideLayout10.xml" ContentType="application/vnd.openxmlformats-officedocument.presentationml.slideLayout+xml"/>
  <Override PartName="/ppt/diagrams/layout2.xml" ContentType="application/vnd.openxmlformats-officedocument.drawingml.diagramLayout+xml"/>
  <Override PartName="/ppt/notesSlides/notesSlide8.xml" ContentType="application/vnd.openxmlformats-officedocument.presentationml.notesSlide+xml"/>
  <Override PartName="/ppt/notesSlides/notesSlide11.xml" ContentType="application/vnd.openxmlformats-officedocument.presentationml.notesSlide+xml"/>
  <Override PartName="/ppt/diagrams/data5.xml" ContentType="application/vnd.openxmlformats-officedocument.drawingml.diagramData+xml"/>
  <Override PartName="/ppt/diagrams/colors7.xml" ContentType="application/vnd.openxmlformats-officedocument.drawingml.diagramColors+xml"/>
  <Override PartName="/ppt/diagrams/data3.xml" ContentType="application/vnd.openxmlformats-officedocument.drawingml.diagramData+xml"/>
  <Override PartName="/ppt/notesSlides/notesSlide6.xml" ContentType="application/vnd.openxmlformats-officedocument.presentationml.notesSlide+xml"/>
  <Override PartName="/ppt/diagrams/colors5.xml" ContentType="application/vnd.openxmlformats-officedocument.drawingml.diagramColors+xml"/>
  <Override PartName="/ppt/diagrams/drawing6.xml" ContentType="application/vnd.ms-office.drawingml.diagramDrawing+xml"/>
  <Override PartName="/ppt/slides/slide8.xml" ContentType="application/vnd.openxmlformats-officedocument.presentationml.slide+xml"/>
  <Override PartName="/ppt/diagrams/data1.xml" ContentType="application/vnd.openxmlformats-officedocument.drawingml.diagramData+xml"/>
  <Override PartName="/ppt/notesSlides/notesSlide4.xml" ContentType="application/vnd.openxmlformats-officedocument.presentationml.notesSlide+xml"/>
  <Override PartName="/ppt/diagrams/colors3.xml" ContentType="application/vnd.openxmlformats-officedocument.drawingml.diagramColors+xml"/>
  <Override PartName="/ppt/diagrams/drawing4.xml" ContentType="application/vnd.ms-office.drawingml.diagramDrawing+xml"/>
  <Override PartName="/ppt/diagrams/quickStyle6.xml" ContentType="application/vnd.openxmlformats-officedocument.drawingml.diagramStyle+xml"/>
  <Override PartName="/docProps/core.xml" ContentType="application/vnd.openxmlformats-package.core-properties+xml"/>
  <Override PartName="/customXml/itemProps3.xml" ContentType="application/vnd.openxmlformats-officedocument.customXml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slideLayouts/slideLayout19.xml" ContentType="application/vnd.openxmlformats-officedocument.presentationml.slideLayout+xml"/>
  <Override PartName="/ppt/diagrams/colors1.xml" ContentType="application/vnd.openxmlformats-officedocument.drawingml.diagramColors+xml"/>
  <Override PartName="/ppt/diagrams/quickStyle4.xml" ContentType="application/vnd.openxmlformats-officedocument.drawingml.diagramStyle+xml"/>
  <Override PartName="/ppt/slideMasters/slideMaster1.xml" ContentType="application/vnd.openxmlformats-officedocument.presentationml.slideMaster+xml"/>
  <Override PartName="/ppt/slides/slide27.xml" ContentType="application/vnd.openxmlformats-officedocument.presentationml.slide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s/slide34.xml" ContentType="application/vnd.openxmlformats-officedocument.presentationml.slide+xml"/>
  <Override PartName="/ppt/slideLayouts/slideLayout15.xml" ContentType="application/vnd.openxmlformats-officedocument.presentationml.slideLayout+xml"/>
  <Default Extension="wmf" ContentType="image/x-wmf"/>
  <Default Extension="rels" ContentType="application/vnd.openxmlformats-package.relationships+xml"/>
  <Override PartName="/ppt/slides/slide23.xml" ContentType="application/vnd.openxmlformats-officedocument.presentationml.slide+xml"/>
  <Override PartName="/ppt/slideLayouts/slideLayout22.xml" ContentType="application/vnd.openxmlformats-officedocument.presentationml.slideLayout+xml"/>
  <Override PartName="/ppt/diagrams/layout7.xml" ContentType="application/vnd.openxmlformats-officedocument.drawingml.diagramLayout+xml"/>
  <Override PartName="/ppt/slides/slide12.xml" ContentType="application/vnd.openxmlformats-officedocument.presentationml.slide+xml"/>
  <Override PartName="/ppt/slides/slide30.xml" ContentType="application/vnd.openxmlformats-officedocument.presentationml.slide+xml"/>
  <Override PartName="/ppt/slideLayouts/slideLayout11.xml" ContentType="application/vnd.openxmlformats-officedocument.presentationml.slideLayout+xml"/>
  <Override PartName="/ppt/diagrams/layout3.xml" ContentType="application/vnd.openxmlformats-officedocument.drawingml.diagramLayout+xml"/>
  <Override PartName="/ppt/notesSlides/notesSlide9.xml" ContentType="application/vnd.openxmlformats-officedocument.presentationml.notesSlide+xml"/>
  <Override PartName="/ppt/diagrams/data4.xml" ContentType="application/vnd.openxmlformats-officedocument.drawingml.diagramData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4"/>
    <p:sldMasterId id="2147483661" r:id="rId5"/>
  </p:sldMasterIdLst>
  <p:notesMasterIdLst>
    <p:notesMasterId r:id="rId43"/>
  </p:notesMasterIdLst>
  <p:sldIdLst>
    <p:sldId id="258" r:id="rId6"/>
    <p:sldId id="262" r:id="rId7"/>
    <p:sldId id="263" r:id="rId8"/>
    <p:sldId id="271" r:id="rId9"/>
    <p:sldId id="286" r:id="rId10"/>
    <p:sldId id="264" r:id="rId11"/>
    <p:sldId id="265" r:id="rId12"/>
    <p:sldId id="267" r:id="rId13"/>
    <p:sldId id="268" r:id="rId14"/>
    <p:sldId id="269" r:id="rId15"/>
    <p:sldId id="294" r:id="rId16"/>
    <p:sldId id="287" r:id="rId17"/>
    <p:sldId id="272" r:id="rId18"/>
    <p:sldId id="288" r:id="rId19"/>
    <p:sldId id="270" r:id="rId20"/>
    <p:sldId id="273" r:id="rId21"/>
    <p:sldId id="274" r:id="rId22"/>
    <p:sldId id="295" r:id="rId23"/>
    <p:sldId id="298" r:id="rId24"/>
    <p:sldId id="299" r:id="rId25"/>
    <p:sldId id="300" r:id="rId26"/>
    <p:sldId id="301" r:id="rId27"/>
    <p:sldId id="289" r:id="rId28"/>
    <p:sldId id="276" r:id="rId29"/>
    <p:sldId id="290" r:id="rId30"/>
    <p:sldId id="275" r:id="rId31"/>
    <p:sldId id="277" r:id="rId32"/>
    <p:sldId id="302" r:id="rId33"/>
    <p:sldId id="291" r:id="rId34"/>
    <p:sldId id="278" r:id="rId35"/>
    <p:sldId id="292" r:id="rId36"/>
    <p:sldId id="279" r:id="rId37"/>
    <p:sldId id="280" r:id="rId38"/>
    <p:sldId id="285" r:id="rId39"/>
    <p:sldId id="293" r:id="rId40"/>
    <p:sldId id="282" r:id="rId41"/>
    <p:sldId id="281" r:id="rId42"/>
  </p:sldIdLst>
  <p:sldSz cx="9144000" cy="6858000" type="screen4x3"/>
  <p:notesSz cx="6858000" cy="9144000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  <p:ext uri="{FD5EFAAD-0ECE-453E-9831-46B23BE46B34}">
      <p15:chartTrackingRefBased xmlns:p15="http://schemas.microsoft.com/office/powerpoint/2012/main" xmlns="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8A107856-5554-42FB-B03E-39F5DBC370BA}" styleName="Medium Style 4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vertBarState="minimized">
    <p:restoredLeft sz="5457" autoAdjust="0"/>
    <p:restoredTop sz="78315" autoAdjust="0"/>
  </p:normalViewPr>
  <p:slideViewPr>
    <p:cSldViewPr>
      <p:cViewPr varScale="1">
        <p:scale>
          <a:sx n="68" d="100"/>
          <a:sy n="68" d="100"/>
        </p:scale>
        <p:origin x="-2395" y="-82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10296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8028800" cy="780288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openxmlformats.org/officeDocument/2006/relationships/slide" Target="slides/slide34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34" Type="http://schemas.openxmlformats.org/officeDocument/2006/relationships/slide" Target="slides/slide29.xml"/><Relationship Id="rId42" Type="http://schemas.openxmlformats.org/officeDocument/2006/relationships/slide" Target="slides/slide37.xml"/><Relationship Id="rId47" Type="http://schemas.openxmlformats.org/officeDocument/2006/relationships/tableStyles" Target="tableStyle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slide" Target="slides/slide33.xml"/><Relationship Id="rId46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slide" Target="slides/slide24.xml"/><Relationship Id="rId41" Type="http://schemas.openxmlformats.org/officeDocument/2006/relationships/slide" Target="slides/slide36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slide" Target="slides/slide32.xml"/><Relationship Id="rId40" Type="http://schemas.openxmlformats.org/officeDocument/2006/relationships/slide" Target="slides/slide35.xml"/><Relationship Id="rId45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slide" Target="slides/slide3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4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slide" Target="slides/slide30.xml"/><Relationship Id="rId43" Type="http://schemas.openxmlformats.org/officeDocument/2006/relationships/notesMaster" Target="notesMasters/notesMaster1.xml"/><Relationship Id="rId48" Type="http://schemas.microsoft.com/office/2015/10/relationships/revisionInfo" Target="revisionInfo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E3728C20-EB6D-4606-A9DD-C48473CE9A1D}" type="doc">
      <dgm:prSet loTypeId="urn:microsoft.com/office/officeart/2005/8/layout/list1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119B03FF-C253-46C1-964C-C5C3A1603D29}">
      <dgm:prSet phldrT="[Text]"/>
      <dgm:spPr>
        <a:solidFill>
          <a:schemeClr val="accent6"/>
        </a:solidFill>
        <a:effectLst>
          <a:outerShdw blurRad="50800" dist="38100" dir="5400000" algn="t" rotWithShape="0">
            <a:prstClr val="black">
              <a:alpha val="40000"/>
            </a:prstClr>
          </a:outerShdw>
        </a:effectLst>
        <a:scene3d>
          <a:camera prst="perspectiveFront"/>
          <a:lightRig rig="threePt" dir="t"/>
        </a:scene3d>
      </dgm:spPr>
      <dgm:t>
        <a:bodyPr/>
        <a:lstStyle/>
        <a:p>
          <a:r>
            <a:rPr lang="en-US" dirty="0"/>
            <a:t>Basics of Validations/substitutions</a:t>
          </a:r>
        </a:p>
      </dgm:t>
    </dgm:pt>
    <dgm:pt modelId="{0258A417-15A8-4BDA-B483-9B298AE8E662}" type="parTrans" cxnId="{54C7DEA5-24A0-433A-AB6B-12FA492869ED}">
      <dgm:prSet/>
      <dgm:spPr/>
      <dgm:t>
        <a:bodyPr/>
        <a:lstStyle/>
        <a:p>
          <a:endParaRPr lang="en-US"/>
        </a:p>
      </dgm:t>
    </dgm:pt>
    <dgm:pt modelId="{FDA5D11D-2859-4A7A-B331-964A0D299202}" type="sibTrans" cxnId="{54C7DEA5-24A0-433A-AB6B-12FA492869ED}">
      <dgm:prSet/>
      <dgm:spPr>
        <a:ln>
          <a:solidFill>
            <a:schemeClr val="accent6"/>
          </a:solidFill>
        </a:ln>
      </dgm:spPr>
      <dgm:t>
        <a:bodyPr/>
        <a:lstStyle/>
        <a:p>
          <a:endParaRPr lang="en-US"/>
        </a:p>
      </dgm:t>
    </dgm:pt>
    <dgm:pt modelId="{5BD1D527-DE68-447D-859E-BEB85E3CD90C}">
      <dgm:prSet phldrT="[Text]"/>
      <dgm:spPr>
        <a:solidFill>
          <a:schemeClr val="accent6"/>
        </a:solidFill>
        <a:effectLst>
          <a:outerShdw blurRad="50800" dist="38100" dir="5400000" algn="t" rotWithShape="0">
            <a:prstClr val="black">
              <a:alpha val="40000"/>
            </a:prstClr>
          </a:outerShdw>
        </a:effectLst>
        <a:scene3d>
          <a:camera prst="perspectiveFront"/>
          <a:lightRig rig="threePt" dir="t"/>
        </a:scene3d>
      </dgm:spPr>
      <dgm:t>
        <a:bodyPr/>
        <a:lstStyle/>
        <a:p>
          <a:r>
            <a:rPr lang="en-US" dirty="0"/>
            <a:t>Validations in Financial Accounting	</a:t>
          </a:r>
        </a:p>
      </dgm:t>
    </dgm:pt>
    <dgm:pt modelId="{83EB42C1-B798-48D9-9B39-49A893E02AD9}" type="parTrans" cxnId="{C5339853-13FC-4F4F-9251-C9276A638A54}">
      <dgm:prSet/>
      <dgm:spPr/>
      <dgm:t>
        <a:bodyPr/>
        <a:lstStyle/>
        <a:p>
          <a:endParaRPr lang="en-US"/>
        </a:p>
      </dgm:t>
    </dgm:pt>
    <dgm:pt modelId="{904A278E-F19D-47C5-91B3-BE734CF33B7B}" type="sibTrans" cxnId="{C5339853-13FC-4F4F-9251-C9276A638A54}">
      <dgm:prSet/>
      <dgm:spPr>
        <a:ln>
          <a:solidFill>
            <a:schemeClr val="accent6"/>
          </a:solidFill>
        </a:ln>
      </dgm:spPr>
      <dgm:t>
        <a:bodyPr/>
        <a:lstStyle/>
        <a:p>
          <a:endParaRPr lang="en-US"/>
        </a:p>
      </dgm:t>
    </dgm:pt>
    <dgm:pt modelId="{C463456C-4A1D-4E40-8510-6553A2E08EAC}">
      <dgm:prSet phldrT="[Text]"/>
      <dgm:spPr>
        <a:solidFill>
          <a:schemeClr val="accent6"/>
        </a:solidFill>
        <a:effectLst>
          <a:outerShdw blurRad="50800" dist="38100" dir="5400000" algn="t" rotWithShape="0">
            <a:prstClr val="black">
              <a:alpha val="40000"/>
            </a:prstClr>
          </a:outerShdw>
        </a:effectLst>
        <a:scene3d>
          <a:camera prst="perspectiveFront"/>
          <a:lightRig rig="threePt" dir="t"/>
        </a:scene3d>
      </dgm:spPr>
      <dgm:t>
        <a:bodyPr/>
        <a:lstStyle/>
        <a:p>
          <a:r>
            <a:rPr lang="en-US" dirty="0"/>
            <a:t>Substitutions in Financial Accounting</a:t>
          </a:r>
        </a:p>
      </dgm:t>
    </dgm:pt>
    <dgm:pt modelId="{0F67D353-D3A4-465A-8770-5E0AD74A2096}" type="parTrans" cxnId="{FDBA7897-28EB-4EC8-A8CE-4899C0707E02}">
      <dgm:prSet/>
      <dgm:spPr/>
      <dgm:t>
        <a:bodyPr/>
        <a:lstStyle/>
        <a:p>
          <a:endParaRPr lang="en-US"/>
        </a:p>
      </dgm:t>
    </dgm:pt>
    <dgm:pt modelId="{8735C32D-8903-4F05-9839-50B435A381BA}" type="sibTrans" cxnId="{FDBA7897-28EB-4EC8-A8CE-4899C0707E02}">
      <dgm:prSet/>
      <dgm:spPr>
        <a:ln>
          <a:solidFill>
            <a:schemeClr val="accent6"/>
          </a:solidFill>
        </a:ln>
      </dgm:spPr>
      <dgm:t>
        <a:bodyPr/>
        <a:lstStyle/>
        <a:p>
          <a:endParaRPr lang="en-US"/>
        </a:p>
      </dgm:t>
    </dgm:pt>
    <dgm:pt modelId="{26F0AFA3-CC61-4F59-B7B4-3EA7C4A98425}">
      <dgm:prSet phldrT="[Text]"/>
      <dgm:spPr>
        <a:solidFill>
          <a:schemeClr val="accent6"/>
        </a:solidFill>
        <a:effectLst>
          <a:outerShdw blurRad="50800" dist="38100" dir="5400000" algn="t" rotWithShape="0">
            <a:prstClr val="black">
              <a:alpha val="40000"/>
            </a:prstClr>
          </a:outerShdw>
        </a:effectLst>
        <a:scene3d>
          <a:camera prst="perspectiveFront"/>
          <a:lightRig rig="threePt" dir="t"/>
        </a:scene3d>
      </dgm:spPr>
      <dgm:t>
        <a:bodyPr/>
        <a:lstStyle/>
        <a:p>
          <a:r>
            <a:rPr lang="en-US" dirty="0"/>
            <a:t>Rules and Sets</a:t>
          </a:r>
        </a:p>
      </dgm:t>
    </dgm:pt>
    <dgm:pt modelId="{C30C10DA-A21E-4EE3-BCB8-764416DE961C}" type="parTrans" cxnId="{066F5157-37C0-47DA-86BE-637BB33003CF}">
      <dgm:prSet/>
      <dgm:spPr/>
      <dgm:t>
        <a:bodyPr/>
        <a:lstStyle/>
        <a:p>
          <a:endParaRPr lang="en-US"/>
        </a:p>
      </dgm:t>
    </dgm:pt>
    <dgm:pt modelId="{21B72554-51FC-4F7F-8CAA-0E8788EDBD44}" type="sibTrans" cxnId="{066F5157-37C0-47DA-86BE-637BB33003CF}">
      <dgm:prSet/>
      <dgm:spPr>
        <a:ln>
          <a:solidFill>
            <a:schemeClr val="accent6"/>
          </a:solidFill>
        </a:ln>
      </dgm:spPr>
      <dgm:t>
        <a:bodyPr/>
        <a:lstStyle/>
        <a:p>
          <a:endParaRPr lang="en-US"/>
        </a:p>
      </dgm:t>
    </dgm:pt>
    <dgm:pt modelId="{7DBC65CD-5B2C-42F2-96AE-8E65EEA901A5}" type="pres">
      <dgm:prSet presAssocID="{E3728C20-EB6D-4606-A9DD-C48473CE9A1D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3D411920-83B9-466E-93C4-84646E5CBD5C}" type="pres">
      <dgm:prSet presAssocID="{119B03FF-C253-46C1-964C-C5C3A1603D29}" presName="parentLin" presStyleCnt="0"/>
      <dgm:spPr/>
    </dgm:pt>
    <dgm:pt modelId="{CB8EBB56-8504-4F7A-BC5D-033D90FEAF3F}" type="pres">
      <dgm:prSet presAssocID="{119B03FF-C253-46C1-964C-C5C3A1603D29}" presName="parentLeftMargin" presStyleLbl="node1" presStyleIdx="0" presStyleCnt="4"/>
      <dgm:spPr/>
      <dgm:t>
        <a:bodyPr/>
        <a:lstStyle/>
        <a:p>
          <a:endParaRPr lang="en-US"/>
        </a:p>
      </dgm:t>
    </dgm:pt>
    <dgm:pt modelId="{9FF565D8-69D8-4A13-A441-9ED1A07415DC}" type="pres">
      <dgm:prSet presAssocID="{119B03FF-C253-46C1-964C-C5C3A1603D29}" presName="parentText" presStyleLbl="node1" presStyleIdx="0" presStyleCnt="4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23C9682-A650-42E2-8644-EA9414D4B23A}" type="pres">
      <dgm:prSet presAssocID="{119B03FF-C253-46C1-964C-C5C3A1603D29}" presName="negativeSpace" presStyleCnt="0"/>
      <dgm:spPr/>
    </dgm:pt>
    <dgm:pt modelId="{59923391-13B1-4A05-B0BD-54033F5EB283}" type="pres">
      <dgm:prSet presAssocID="{119B03FF-C253-46C1-964C-C5C3A1603D29}" presName="childText" presStyleLbl="conFgAcc1" presStyleIdx="0" presStyleCnt="4">
        <dgm:presLayoutVars>
          <dgm:bulletEnabled val="1"/>
        </dgm:presLayoutVars>
      </dgm:prSet>
      <dgm:spPr/>
    </dgm:pt>
    <dgm:pt modelId="{198E1732-DCF1-44AD-B512-6B0EEB30425A}" type="pres">
      <dgm:prSet presAssocID="{FDA5D11D-2859-4A7A-B331-964A0D299202}" presName="spaceBetweenRectangles" presStyleCnt="0"/>
      <dgm:spPr/>
    </dgm:pt>
    <dgm:pt modelId="{C8D4A645-FE78-4EAF-9CA3-0252F9794F9B}" type="pres">
      <dgm:prSet presAssocID="{5BD1D527-DE68-447D-859E-BEB85E3CD90C}" presName="parentLin" presStyleCnt="0"/>
      <dgm:spPr/>
    </dgm:pt>
    <dgm:pt modelId="{62C99DC8-ABD1-4BC1-96D5-DB8A95655A56}" type="pres">
      <dgm:prSet presAssocID="{5BD1D527-DE68-447D-859E-BEB85E3CD90C}" presName="parentLeftMargin" presStyleLbl="node1" presStyleIdx="0" presStyleCnt="4"/>
      <dgm:spPr/>
      <dgm:t>
        <a:bodyPr/>
        <a:lstStyle/>
        <a:p>
          <a:endParaRPr lang="en-US"/>
        </a:p>
      </dgm:t>
    </dgm:pt>
    <dgm:pt modelId="{4F1B875E-30C4-4296-AF0A-B2F0FF98E937}" type="pres">
      <dgm:prSet presAssocID="{5BD1D527-DE68-447D-859E-BEB85E3CD90C}" presName="parentText" presStyleLbl="node1" presStyleIdx="1" presStyleCnt="4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6BBF129-1C87-48B0-9C84-4586D01AD5ED}" type="pres">
      <dgm:prSet presAssocID="{5BD1D527-DE68-447D-859E-BEB85E3CD90C}" presName="negativeSpace" presStyleCnt="0"/>
      <dgm:spPr/>
    </dgm:pt>
    <dgm:pt modelId="{4447009D-8EA2-41AA-BBF3-3154EA9B2F24}" type="pres">
      <dgm:prSet presAssocID="{5BD1D527-DE68-447D-859E-BEB85E3CD90C}" presName="childText" presStyleLbl="conFgAcc1" presStyleIdx="1" presStyleCnt="4">
        <dgm:presLayoutVars>
          <dgm:bulletEnabled val="1"/>
        </dgm:presLayoutVars>
      </dgm:prSet>
      <dgm:spPr/>
    </dgm:pt>
    <dgm:pt modelId="{5F0C58E9-F97A-442E-B4B6-09E33D55B343}" type="pres">
      <dgm:prSet presAssocID="{904A278E-F19D-47C5-91B3-BE734CF33B7B}" presName="spaceBetweenRectangles" presStyleCnt="0"/>
      <dgm:spPr/>
    </dgm:pt>
    <dgm:pt modelId="{016FCE31-B27D-40E9-8C7F-46E5079028BF}" type="pres">
      <dgm:prSet presAssocID="{C463456C-4A1D-4E40-8510-6553A2E08EAC}" presName="parentLin" presStyleCnt="0"/>
      <dgm:spPr/>
    </dgm:pt>
    <dgm:pt modelId="{C8BD45C4-0036-46CC-B694-7420A32F454C}" type="pres">
      <dgm:prSet presAssocID="{C463456C-4A1D-4E40-8510-6553A2E08EAC}" presName="parentLeftMargin" presStyleLbl="node1" presStyleIdx="1" presStyleCnt="4"/>
      <dgm:spPr/>
      <dgm:t>
        <a:bodyPr/>
        <a:lstStyle/>
        <a:p>
          <a:endParaRPr lang="en-US"/>
        </a:p>
      </dgm:t>
    </dgm:pt>
    <dgm:pt modelId="{308892F6-9082-488F-A32B-06D8AF648161}" type="pres">
      <dgm:prSet presAssocID="{C463456C-4A1D-4E40-8510-6553A2E08EAC}" presName="parentText" presStyleLbl="node1" presStyleIdx="2" presStyleCnt="4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6FA02C5B-74D9-43CB-B027-653ED7B3BFFC}" type="pres">
      <dgm:prSet presAssocID="{C463456C-4A1D-4E40-8510-6553A2E08EAC}" presName="negativeSpace" presStyleCnt="0"/>
      <dgm:spPr/>
    </dgm:pt>
    <dgm:pt modelId="{0B15E5D7-78A0-46A8-B805-14B307C3929F}" type="pres">
      <dgm:prSet presAssocID="{C463456C-4A1D-4E40-8510-6553A2E08EAC}" presName="childText" presStyleLbl="conFgAcc1" presStyleIdx="2" presStyleCnt="4">
        <dgm:presLayoutVars>
          <dgm:bulletEnabled val="1"/>
        </dgm:presLayoutVars>
      </dgm:prSet>
      <dgm:spPr/>
    </dgm:pt>
    <dgm:pt modelId="{0C36EB90-198D-4D45-9CDD-1990081AD103}" type="pres">
      <dgm:prSet presAssocID="{8735C32D-8903-4F05-9839-50B435A381BA}" presName="spaceBetweenRectangles" presStyleCnt="0"/>
      <dgm:spPr/>
    </dgm:pt>
    <dgm:pt modelId="{21427D55-DFAE-4CA3-9A53-5F1EC9C88931}" type="pres">
      <dgm:prSet presAssocID="{26F0AFA3-CC61-4F59-B7B4-3EA7C4A98425}" presName="parentLin" presStyleCnt="0"/>
      <dgm:spPr/>
    </dgm:pt>
    <dgm:pt modelId="{9F8A8389-3FE2-4D96-AA3D-FB5EB20EC7BC}" type="pres">
      <dgm:prSet presAssocID="{26F0AFA3-CC61-4F59-B7B4-3EA7C4A98425}" presName="parentLeftMargin" presStyleLbl="node1" presStyleIdx="2" presStyleCnt="4"/>
      <dgm:spPr/>
      <dgm:t>
        <a:bodyPr/>
        <a:lstStyle/>
        <a:p>
          <a:endParaRPr lang="en-US"/>
        </a:p>
      </dgm:t>
    </dgm:pt>
    <dgm:pt modelId="{7A734AB2-47DC-430A-AF94-79125E632AC1}" type="pres">
      <dgm:prSet presAssocID="{26F0AFA3-CC61-4F59-B7B4-3EA7C4A98425}" presName="parentText" presStyleLbl="node1" presStyleIdx="3" presStyleCnt="4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190742E0-A43C-4E73-80CC-7213116E8627}" type="pres">
      <dgm:prSet presAssocID="{26F0AFA3-CC61-4F59-B7B4-3EA7C4A98425}" presName="negativeSpace" presStyleCnt="0"/>
      <dgm:spPr/>
    </dgm:pt>
    <dgm:pt modelId="{E4831231-EA6F-485D-A4BA-3A5CF0E78F22}" type="pres">
      <dgm:prSet presAssocID="{26F0AFA3-CC61-4F59-B7B4-3EA7C4A98425}" presName="childText" presStyleLbl="conFgAcc1" presStyleIdx="3" presStyleCnt="4">
        <dgm:presLayoutVars>
          <dgm:bulletEnabled val="1"/>
        </dgm:presLayoutVars>
      </dgm:prSet>
      <dgm:spPr/>
    </dgm:pt>
  </dgm:ptLst>
  <dgm:cxnLst>
    <dgm:cxn modelId="{8A75F52A-E7EE-45B4-8477-870772E4E152}" type="presOf" srcId="{C463456C-4A1D-4E40-8510-6553A2E08EAC}" destId="{C8BD45C4-0036-46CC-B694-7420A32F454C}" srcOrd="0" destOrd="0" presId="urn:microsoft.com/office/officeart/2005/8/layout/list1"/>
    <dgm:cxn modelId="{3597B9CD-A1AD-44C9-B2E4-4EF7207F1FA9}" type="presOf" srcId="{5BD1D527-DE68-447D-859E-BEB85E3CD90C}" destId="{4F1B875E-30C4-4296-AF0A-B2F0FF98E937}" srcOrd="1" destOrd="0" presId="urn:microsoft.com/office/officeart/2005/8/layout/list1"/>
    <dgm:cxn modelId="{D2D48879-6D44-4FAB-8F6A-2975E1BA9ECC}" type="presOf" srcId="{26F0AFA3-CC61-4F59-B7B4-3EA7C4A98425}" destId="{7A734AB2-47DC-430A-AF94-79125E632AC1}" srcOrd="1" destOrd="0" presId="urn:microsoft.com/office/officeart/2005/8/layout/list1"/>
    <dgm:cxn modelId="{1570251F-BCA5-4BE1-8A67-BC895A47C11F}" type="presOf" srcId="{E3728C20-EB6D-4606-A9DD-C48473CE9A1D}" destId="{7DBC65CD-5B2C-42F2-96AE-8E65EEA901A5}" srcOrd="0" destOrd="0" presId="urn:microsoft.com/office/officeart/2005/8/layout/list1"/>
    <dgm:cxn modelId="{B8B156C0-270B-4D3A-A114-F5EFB2F39477}" type="presOf" srcId="{5BD1D527-DE68-447D-859E-BEB85E3CD90C}" destId="{62C99DC8-ABD1-4BC1-96D5-DB8A95655A56}" srcOrd="0" destOrd="0" presId="urn:microsoft.com/office/officeart/2005/8/layout/list1"/>
    <dgm:cxn modelId="{C08B7AE1-4166-487D-929F-CA70E91E5FA4}" type="presOf" srcId="{119B03FF-C253-46C1-964C-C5C3A1603D29}" destId="{9FF565D8-69D8-4A13-A441-9ED1A07415DC}" srcOrd="1" destOrd="0" presId="urn:microsoft.com/office/officeart/2005/8/layout/list1"/>
    <dgm:cxn modelId="{52474E7B-1D46-4EA5-90D4-E45EE4AD537A}" type="presOf" srcId="{119B03FF-C253-46C1-964C-C5C3A1603D29}" destId="{CB8EBB56-8504-4F7A-BC5D-033D90FEAF3F}" srcOrd="0" destOrd="0" presId="urn:microsoft.com/office/officeart/2005/8/layout/list1"/>
    <dgm:cxn modelId="{54C7DEA5-24A0-433A-AB6B-12FA492869ED}" srcId="{E3728C20-EB6D-4606-A9DD-C48473CE9A1D}" destId="{119B03FF-C253-46C1-964C-C5C3A1603D29}" srcOrd="0" destOrd="0" parTransId="{0258A417-15A8-4BDA-B483-9B298AE8E662}" sibTransId="{FDA5D11D-2859-4A7A-B331-964A0D299202}"/>
    <dgm:cxn modelId="{FDBA7897-28EB-4EC8-A8CE-4899C0707E02}" srcId="{E3728C20-EB6D-4606-A9DD-C48473CE9A1D}" destId="{C463456C-4A1D-4E40-8510-6553A2E08EAC}" srcOrd="2" destOrd="0" parTransId="{0F67D353-D3A4-465A-8770-5E0AD74A2096}" sibTransId="{8735C32D-8903-4F05-9839-50B435A381BA}"/>
    <dgm:cxn modelId="{C5339853-13FC-4F4F-9251-C9276A638A54}" srcId="{E3728C20-EB6D-4606-A9DD-C48473CE9A1D}" destId="{5BD1D527-DE68-447D-859E-BEB85E3CD90C}" srcOrd="1" destOrd="0" parTransId="{83EB42C1-B798-48D9-9B39-49A893E02AD9}" sibTransId="{904A278E-F19D-47C5-91B3-BE734CF33B7B}"/>
    <dgm:cxn modelId="{18D9AFFB-0F1D-4A6C-8FDB-16664D6DA38D}" type="presOf" srcId="{26F0AFA3-CC61-4F59-B7B4-3EA7C4A98425}" destId="{9F8A8389-3FE2-4D96-AA3D-FB5EB20EC7BC}" srcOrd="0" destOrd="0" presId="urn:microsoft.com/office/officeart/2005/8/layout/list1"/>
    <dgm:cxn modelId="{AC3FFB74-4007-49DD-A895-06F108B92557}" type="presOf" srcId="{C463456C-4A1D-4E40-8510-6553A2E08EAC}" destId="{308892F6-9082-488F-A32B-06D8AF648161}" srcOrd="1" destOrd="0" presId="urn:microsoft.com/office/officeart/2005/8/layout/list1"/>
    <dgm:cxn modelId="{066F5157-37C0-47DA-86BE-637BB33003CF}" srcId="{E3728C20-EB6D-4606-A9DD-C48473CE9A1D}" destId="{26F0AFA3-CC61-4F59-B7B4-3EA7C4A98425}" srcOrd="3" destOrd="0" parTransId="{C30C10DA-A21E-4EE3-BCB8-764416DE961C}" sibTransId="{21B72554-51FC-4F7F-8CAA-0E8788EDBD44}"/>
    <dgm:cxn modelId="{E99549C5-2844-4CCF-8A2A-7432CB0AC076}" type="presParOf" srcId="{7DBC65CD-5B2C-42F2-96AE-8E65EEA901A5}" destId="{3D411920-83B9-466E-93C4-84646E5CBD5C}" srcOrd="0" destOrd="0" presId="urn:microsoft.com/office/officeart/2005/8/layout/list1"/>
    <dgm:cxn modelId="{B04EAE39-DDC5-42E5-8ACA-D585C025D0C8}" type="presParOf" srcId="{3D411920-83B9-466E-93C4-84646E5CBD5C}" destId="{CB8EBB56-8504-4F7A-BC5D-033D90FEAF3F}" srcOrd="0" destOrd="0" presId="urn:microsoft.com/office/officeart/2005/8/layout/list1"/>
    <dgm:cxn modelId="{872E3A97-7521-47D6-97DC-0E42CCE0DA58}" type="presParOf" srcId="{3D411920-83B9-466E-93C4-84646E5CBD5C}" destId="{9FF565D8-69D8-4A13-A441-9ED1A07415DC}" srcOrd="1" destOrd="0" presId="urn:microsoft.com/office/officeart/2005/8/layout/list1"/>
    <dgm:cxn modelId="{C4523147-1CFF-46E8-BCC7-9FC90234A98E}" type="presParOf" srcId="{7DBC65CD-5B2C-42F2-96AE-8E65EEA901A5}" destId="{823C9682-A650-42E2-8644-EA9414D4B23A}" srcOrd="1" destOrd="0" presId="urn:microsoft.com/office/officeart/2005/8/layout/list1"/>
    <dgm:cxn modelId="{E42C34AC-EF7E-41CB-B3E5-348CD592A2F7}" type="presParOf" srcId="{7DBC65CD-5B2C-42F2-96AE-8E65EEA901A5}" destId="{59923391-13B1-4A05-B0BD-54033F5EB283}" srcOrd="2" destOrd="0" presId="urn:microsoft.com/office/officeart/2005/8/layout/list1"/>
    <dgm:cxn modelId="{E659CA60-11B1-488C-8CF0-6C87B3769490}" type="presParOf" srcId="{7DBC65CD-5B2C-42F2-96AE-8E65EEA901A5}" destId="{198E1732-DCF1-44AD-B512-6B0EEB30425A}" srcOrd="3" destOrd="0" presId="urn:microsoft.com/office/officeart/2005/8/layout/list1"/>
    <dgm:cxn modelId="{24BF1AB5-AE6C-437B-9C1F-3902F079D532}" type="presParOf" srcId="{7DBC65CD-5B2C-42F2-96AE-8E65EEA901A5}" destId="{C8D4A645-FE78-4EAF-9CA3-0252F9794F9B}" srcOrd="4" destOrd="0" presId="urn:microsoft.com/office/officeart/2005/8/layout/list1"/>
    <dgm:cxn modelId="{C05A6B91-EDE2-4B70-88D3-9080A7A898A4}" type="presParOf" srcId="{C8D4A645-FE78-4EAF-9CA3-0252F9794F9B}" destId="{62C99DC8-ABD1-4BC1-96D5-DB8A95655A56}" srcOrd="0" destOrd="0" presId="urn:microsoft.com/office/officeart/2005/8/layout/list1"/>
    <dgm:cxn modelId="{B4BE4859-E773-4B59-B274-642861D51EE6}" type="presParOf" srcId="{C8D4A645-FE78-4EAF-9CA3-0252F9794F9B}" destId="{4F1B875E-30C4-4296-AF0A-B2F0FF98E937}" srcOrd="1" destOrd="0" presId="urn:microsoft.com/office/officeart/2005/8/layout/list1"/>
    <dgm:cxn modelId="{37D29678-80AC-4B4A-8252-7B7577DF189D}" type="presParOf" srcId="{7DBC65CD-5B2C-42F2-96AE-8E65EEA901A5}" destId="{A6BBF129-1C87-48B0-9C84-4586D01AD5ED}" srcOrd="5" destOrd="0" presId="urn:microsoft.com/office/officeart/2005/8/layout/list1"/>
    <dgm:cxn modelId="{A2A08D5A-94ED-4C27-B532-AE13E34F2BCD}" type="presParOf" srcId="{7DBC65CD-5B2C-42F2-96AE-8E65EEA901A5}" destId="{4447009D-8EA2-41AA-BBF3-3154EA9B2F24}" srcOrd="6" destOrd="0" presId="urn:microsoft.com/office/officeart/2005/8/layout/list1"/>
    <dgm:cxn modelId="{587C08D5-BDAC-414A-8839-97AFC2AF4BF9}" type="presParOf" srcId="{7DBC65CD-5B2C-42F2-96AE-8E65EEA901A5}" destId="{5F0C58E9-F97A-442E-B4B6-09E33D55B343}" srcOrd="7" destOrd="0" presId="urn:microsoft.com/office/officeart/2005/8/layout/list1"/>
    <dgm:cxn modelId="{6D41C033-CAA9-4077-8D76-C11FA5074C70}" type="presParOf" srcId="{7DBC65CD-5B2C-42F2-96AE-8E65EEA901A5}" destId="{016FCE31-B27D-40E9-8C7F-46E5079028BF}" srcOrd="8" destOrd="0" presId="urn:microsoft.com/office/officeart/2005/8/layout/list1"/>
    <dgm:cxn modelId="{668E3D3C-224F-4346-9D6D-AAEB1DA9CBE6}" type="presParOf" srcId="{016FCE31-B27D-40E9-8C7F-46E5079028BF}" destId="{C8BD45C4-0036-46CC-B694-7420A32F454C}" srcOrd="0" destOrd="0" presId="urn:microsoft.com/office/officeart/2005/8/layout/list1"/>
    <dgm:cxn modelId="{D0C86643-ACBA-4EF3-A2F8-1AFCE0F705D3}" type="presParOf" srcId="{016FCE31-B27D-40E9-8C7F-46E5079028BF}" destId="{308892F6-9082-488F-A32B-06D8AF648161}" srcOrd="1" destOrd="0" presId="urn:microsoft.com/office/officeart/2005/8/layout/list1"/>
    <dgm:cxn modelId="{DE15E868-3D57-4662-8306-4FADAC6A5659}" type="presParOf" srcId="{7DBC65CD-5B2C-42F2-96AE-8E65EEA901A5}" destId="{6FA02C5B-74D9-43CB-B027-653ED7B3BFFC}" srcOrd="9" destOrd="0" presId="urn:microsoft.com/office/officeart/2005/8/layout/list1"/>
    <dgm:cxn modelId="{A5C28378-2984-47D7-B842-7CC8C137511B}" type="presParOf" srcId="{7DBC65CD-5B2C-42F2-96AE-8E65EEA901A5}" destId="{0B15E5D7-78A0-46A8-B805-14B307C3929F}" srcOrd="10" destOrd="0" presId="urn:microsoft.com/office/officeart/2005/8/layout/list1"/>
    <dgm:cxn modelId="{593C7E49-524F-42B9-B238-EC85CC7FE024}" type="presParOf" srcId="{7DBC65CD-5B2C-42F2-96AE-8E65EEA901A5}" destId="{0C36EB90-198D-4D45-9CDD-1990081AD103}" srcOrd="11" destOrd="0" presId="urn:microsoft.com/office/officeart/2005/8/layout/list1"/>
    <dgm:cxn modelId="{BD240F8C-CD96-4DAE-9888-DFD1FC8FA141}" type="presParOf" srcId="{7DBC65CD-5B2C-42F2-96AE-8E65EEA901A5}" destId="{21427D55-DFAE-4CA3-9A53-5F1EC9C88931}" srcOrd="12" destOrd="0" presId="urn:microsoft.com/office/officeart/2005/8/layout/list1"/>
    <dgm:cxn modelId="{8CF7F927-2778-46D2-82FD-51E88B90CF11}" type="presParOf" srcId="{21427D55-DFAE-4CA3-9A53-5F1EC9C88931}" destId="{9F8A8389-3FE2-4D96-AA3D-FB5EB20EC7BC}" srcOrd="0" destOrd="0" presId="urn:microsoft.com/office/officeart/2005/8/layout/list1"/>
    <dgm:cxn modelId="{9999DDA5-CC46-4DFF-8A3F-FF668D66EF7C}" type="presParOf" srcId="{21427D55-DFAE-4CA3-9A53-5F1EC9C88931}" destId="{7A734AB2-47DC-430A-AF94-79125E632AC1}" srcOrd="1" destOrd="0" presId="urn:microsoft.com/office/officeart/2005/8/layout/list1"/>
    <dgm:cxn modelId="{2A75B053-AD1E-4240-AAB4-E5F1FAD9A1CD}" type="presParOf" srcId="{7DBC65CD-5B2C-42F2-96AE-8E65EEA901A5}" destId="{190742E0-A43C-4E73-80CC-7213116E8627}" srcOrd="13" destOrd="0" presId="urn:microsoft.com/office/officeart/2005/8/layout/list1"/>
    <dgm:cxn modelId="{4A978DEE-B553-4B16-99CB-3C06B32F5A2D}" type="presParOf" srcId="{7DBC65CD-5B2C-42F2-96AE-8E65EEA901A5}" destId="{E4831231-EA6F-485D-A4BA-3A5CF0E78F22}" srcOrd="14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E3728C20-EB6D-4606-A9DD-C48473CE9A1D}" type="doc">
      <dgm:prSet loTypeId="urn:microsoft.com/office/officeart/2005/8/layout/list1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119B03FF-C253-46C1-964C-C5C3A1603D29}">
      <dgm:prSet phldrT="[Text]"/>
      <dgm:spPr>
        <a:solidFill>
          <a:schemeClr val="accent6"/>
        </a:solidFill>
        <a:effectLst>
          <a:outerShdw blurRad="50800" dist="38100" dir="5400000" algn="t" rotWithShape="0">
            <a:prstClr val="black">
              <a:alpha val="40000"/>
            </a:prstClr>
          </a:outerShdw>
        </a:effectLst>
        <a:scene3d>
          <a:camera prst="perspectiveFront"/>
          <a:lightRig rig="threePt" dir="t"/>
        </a:scene3d>
      </dgm:spPr>
      <dgm:t>
        <a:bodyPr/>
        <a:lstStyle/>
        <a:p>
          <a:r>
            <a:rPr lang="en-US" dirty="0"/>
            <a:t>Basics of Validations/substitutions</a:t>
          </a:r>
        </a:p>
      </dgm:t>
    </dgm:pt>
    <dgm:pt modelId="{0258A417-15A8-4BDA-B483-9B298AE8E662}" type="parTrans" cxnId="{54C7DEA5-24A0-433A-AB6B-12FA492869ED}">
      <dgm:prSet/>
      <dgm:spPr/>
      <dgm:t>
        <a:bodyPr/>
        <a:lstStyle/>
        <a:p>
          <a:endParaRPr lang="en-US"/>
        </a:p>
      </dgm:t>
    </dgm:pt>
    <dgm:pt modelId="{FDA5D11D-2859-4A7A-B331-964A0D299202}" type="sibTrans" cxnId="{54C7DEA5-24A0-433A-AB6B-12FA492869ED}">
      <dgm:prSet/>
      <dgm:spPr>
        <a:ln>
          <a:solidFill>
            <a:schemeClr val="accent6"/>
          </a:solidFill>
        </a:ln>
      </dgm:spPr>
      <dgm:t>
        <a:bodyPr/>
        <a:lstStyle/>
        <a:p>
          <a:endParaRPr lang="en-US"/>
        </a:p>
      </dgm:t>
    </dgm:pt>
    <dgm:pt modelId="{5BD1D527-DE68-447D-859E-BEB85E3CD90C}">
      <dgm:prSet phldrT="[Text]"/>
      <dgm:spPr>
        <a:solidFill>
          <a:schemeClr val="accent6">
            <a:alpha val="24000"/>
          </a:schemeClr>
        </a:solidFill>
        <a:effectLst>
          <a:outerShdw blurRad="50800" dist="38100" dir="5400000" algn="t" rotWithShape="0">
            <a:prstClr val="black">
              <a:alpha val="40000"/>
            </a:prstClr>
          </a:outerShdw>
        </a:effectLst>
        <a:scene3d>
          <a:camera prst="perspectiveFront"/>
          <a:lightRig rig="threePt" dir="t"/>
        </a:scene3d>
      </dgm:spPr>
      <dgm:t>
        <a:bodyPr/>
        <a:lstStyle/>
        <a:p>
          <a:r>
            <a:rPr lang="en-US" dirty="0"/>
            <a:t>Validations in Financial Accounting	</a:t>
          </a:r>
        </a:p>
      </dgm:t>
    </dgm:pt>
    <dgm:pt modelId="{83EB42C1-B798-48D9-9B39-49A893E02AD9}" type="parTrans" cxnId="{C5339853-13FC-4F4F-9251-C9276A638A54}">
      <dgm:prSet/>
      <dgm:spPr/>
      <dgm:t>
        <a:bodyPr/>
        <a:lstStyle/>
        <a:p>
          <a:endParaRPr lang="en-US"/>
        </a:p>
      </dgm:t>
    </dgm:pt>
    <dgm:pt modelId="{904A278E-F19D-47C5-91B3-BE734CF33B7B}" type="sibTrans" cxnId="{C5339853-13FC-4F4F-9251-C9276A638A54}">
      <dgm:prSet/>
      <dgm:spPr>
        <a:ln>
          <a:solidFill>
            <a:schemeClr val="accent6"/>
          </a:solidFill>
        </a:ln>
      </dgm:spPr>
      <dgm:t>
        <a:bodyPr/>
        <a:lstStyle/>
        <a:p>
          <a:endParaRPr lang="en-US"/>
        </a:p>
      </dgm:t>
    </dgm:pt>
    <dgm:pt modelId="{C463456C-4A1D-4E40-8510-6553A2E08EAC}">
      <dgm:prSet phldrT="[Text]"/>
      <dgm:spPr>
        <a:solidFill>
          <a:schemeClr val="accent6">
            <a:alpha val="24000"/>
          </a:schemeClr>
        </a:solidFill>
        <a:effectLst>
          <a:outerShdw blurRad="50800" dist="38100" dir="5400000" algn="t" rotWithShape="0">
            <a:prstClr val="black">
              <a:alpha val="40000"/>
            </a:prstClr>
          </a:outerShdw>
        </a:effectLst>
        <a:scene3d>
          <a:camera prst="perspectiveFront"/>
          <a:lightRig rig="threePt" dir="t"/>
        </a:scene3d>
      </dgm:spPr>
      <dgm:t>
        <a:bodyPr/>
        <a:lstStyle/>
        <a:p>
          <a:r>
            <a:rPr lang="en-US" dirty="0"/>
            <a:t>Substitutions in Financial Accounting</a:t>
          </a:r>
        </a:p>
      </dgm:t>
    </dgm:pt>
    <dgm:pt modelId="{0F67D353-D3A4-465A-8770-5E0AD74A2096}" type="parTrans" cxnId="{FDBA7897-28EB-4EC8-A8CE-4899C0707E02}">
      <dgm:prSet/>
      <dgm:spPr/>
      <dgm:t>
        <a:bodyPr/>
        <a:lstStyle/>
        <a:p>
          <a:endParaRPr lang="en-US"/>
        </a:p>
      </dgm:t>
    </dgm:pt>
    <dgm:pt modelId="{8735C32D-8903-4F05-9839-50B435A381BA}" type="sibTrans" cxnId="{FDBA7897-28EB-4EC8-A8CE-4899C0707E02}">
      <dgm:prSet/>
      <dgm:spPr>
        <a:ln>
          <a:solidFill>
            <a:schemeClr val="accent6"/>
          </a:solidFill>
        </a:ln>
      </dgm:spPr>
      <dgm:t>
        <a:bodyPr/>
        <a:lstStyle/>
        <a:p>
          <a:endParaRPr lang="en-US"/>
        </a:p>
      </dgm:t>
    </dgm:pt>
    <dgm:pt modelId="{26F0AFA3-CC61-4F59-B7B4-3EA7C4A98425}">
      <dgm:prSet phldrT="[Text]"/>
      <dgm:spPr>
        <a:solidFill>
          <a:schemeClr val="accent6">
            <a:alpha val="24000"/>
          </a:schemeClr>
        </a:solidFill>
        <a:effectLst>
          <a:outerShdw blurRad="50800" dist="38100" dir="5400000" algn="t" rotWithShape="0">
            <a:prstClr val="black">
              <a:alpha val="40000"/>
            </a:prstClr>
          </a:outerShdw>
        </a:effectLst>
        <a:scene3d>
          <a:camera prst="perspectiveFront"/>
          <a:lightRig rig="threePt" dir="t"/>
        </a:scene3d>
      </dgm:spPr>
      <dgm:t>
        <a:bodyPr/>
        <a:lstStyle/>
        <a:p>
          <a:r>
            <a:rPr lang="en-US" dirty="0"/>
            <a:t>Rules and Sets</a:t>
          </a:r>
        </a:p>
      </dgm:t>
    </dgm:pt>
    <dgm:pt modelId="{C30C10DA-A21E-4EE3-BCB8-764416DE961C}" type="parTrans" cxnId="{066F5157-37C0-47DA-86BE-637BB33003CF}">
      <dgm:prSet/>
      <dgm:spPr/>
      <dgm:t>
        <a:bodyPr/>
        <a:lstStyle/>
        <a:p>
          <a:endParaRPr lang="en-US"/>
        </a:p>
      </dgm:t>
    </dgm:pt>
    <dgm:pt modelId="{21B72554-51FC-4F7F-8CAA-0E8788EDBD44}" type="sibTrans" cxnId="{066F5157-37C0-47DA-86BE-637BB33003CF}">
      <dgm:prSet/>
      <dgm:spPr>
        <a:ln>
          <a:solidFill>
            <a:schemeClr val="accent6"/>
          </a:solidFill>
        </a:ln>
      </dgm:spPr>
      <dgm:t>
        <a:bodyPr/>
        <a:lstStyle/>
        <a:p>
          <a:endParaRPr lang="en-US"/>
        </a:p>
      </dgm:t>
    </dgm:pt>
    <dgm:pt modelId="{7DBC65CD-5B2C-42F2-96AE-8E65EEA901A5}" type="pres">
      <dgm:prSet presAssocID="{E3728C20-EB6D-4606-A9DD-C48473CE9A1D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3D411920-83B9-466E-93C4-84646E5CBD5C}" type="pres">
      <dgm:prSet presAssocID="{119B03FF-C253-46C1-964C-C5C3A1603D29}" presName="parentLin" presStyleCnt="0"/>
      <dgm:spPr/>
    </dgm:pt>
    <dgm:pt modelId="{CB8EBB56-8504-4F7A-BC5D-033D90FEAF3F}" type="pres">
      <dgm:prSet presAssocID="{119B03FF-C253-46C1-964C-C5C3A1603D29}" presName="parentLeftMargin" presStyleLbl="node1" presStyleIdx="0" presStyleCnt="4"/>
      <dgm:spPr/>
      <dgm:t>
        <a:bodyPr/>
        <a:lstStyle/>
        <a:p>
          <a:endParaRPr lang="en-US"/>
        </a:p>
      </dgm:t>
    </dgm:pt>
    <dgm:pt modelId="{9FF565D8-69D8-4A13-A441-9ED1A07415DC}" type="pres">
      <dgm:prSet presAssocID="{119B03FF-C253-46C1-964C-C5C3A1603D29}" presName="parentText" presStyleLbl="node1" presStyleIdx="0" presStyleCnt="4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23C9682-A650-42E2-8644-EA9414D4B23A}" type="pres">
      <dgm:prSet presAssocID="{119B03FF-C253-46C1-964C-C5C3A1603D29}" presName="negativeSpace" presStyleCnt="0"/>
      <dgm:spPr/>
    </dgm:pt>
    <dgm:pt modelId="{59923391-13B1-4A05-B0BD-54033F5EB283}" type="pres">
      <dgm:prSet presAssocID="{119B03FF-C253-46C1-964C-C5C3A1603D29}" presName="childText" presStyleLbl="conFgAcc1" presStyleIdx="0" presStyleCnt="4">
        <dgm:presLayoutVars>
          <dgm:bulletEnabled val="1"/>
        </dgm:presLayoutVars>
      </dgm:prSet>
      <dgm:spPr/>
    </dgm:pt>
    <dgm:pt modelId="{198E1732-DCF1-44AD-B512-6B0EEB30425A}" type="pres">
      <dgm:prSet presAssocID="{FDA5D11D-2859-4A7A-B331-964A0D299202}" presName="spaceBetweenRectangles" presStyleCnt="0"/>
      <dgm:spPr/>
    </dgm:pt>
    <dgm:pt modelId="{C8D4A645-FE78-4EAF-9CA3-0252F9794F9B}" type="pres">
      <dgm:prSet presAssocID="{5BD1D527-DE68-447D-859E-BEB85E3CD90C}" presName="parentLin" presStyleCnt="0"/>
      <dgm:spPr/>
    </dgm:pt>
    <dgm:pt modelId="{62C99DC8-ABD1-4BC1-96D5-DB8A95655A56}" type="pres">
      <dgm:prSet presAssocID="{5BD1D527-DE68-447D-859E-BEB85E3CD90C}" presName="parentLeftMargin" presStyleLbl="node1" presStyleIdx="0" presStyleCnt="4"/>
      <dgm:spPr/>
      <dgm:t>
        <a:bodyPr/>
        <a:lstStyle/>
        <a:p>
          <a:endParaRPr lang="en-US"/>
        </a:p>
      </dgm:t>
    </dgm:pt>
    <dgm:pt modelId="{4F1B875E-30C4-4296-AF0A-B2F0FF98E937}" type="pres">
      <dgm:prSet presAssocID="{5BD1D527-DE68-447D-859E-BEB85E3CD90C}" presName="parentText" presStyleLbl="node1" presStyleIdx="1" presStyleCnt="4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6BBF129-1C87-48B0-9C84-4586D01AD5ED}" type="pres">
      <dgm:prSet presAssocID="{5BD1D527-DE68-447D-859E-BEB85E3CD90C}" presName="negativeSpace" presStyleCnt="0"/>
      <dgm:spPr/>
    </dgm:pt>
    <dgm:pt modelId="{4447009D-8EA2-41AA-BBF3-3154EA9B2F24}" type="pres">
      <dgm:prSet presAssocID="{5BD1D527-DE68-447D-859E-BEB85E3CD90C}" presName="childText" presStyleLbl="conFgAcc1" presStyleIdx="1" presStyleCnt="4">
        <dgm:presLayoutVars>
          <dgm:bulletEnabled val="1"/>
        </dgm:presLayoutVars>
      </dgm:prSet>
      <dgm:spPr/>
    </dgm:pt>
    <dgm:pt modelId="{5F0C58E9-F97A-442E-B4B6-09E33D55B343}" type="pres">
      <dgm:prSet presAssocID="{904A278E-F19D-47C5-91B3-BE734CF33B7B}" presName="spaceBetweenRectangles" presStyleCnt="0"/>
      <dgm:spPr/>
    </dgm:pt>
    <dgm:pt modelId="{016FCE31-B27D-40E9-8C7F-46E5079028BF}" type="pres">
      <dgm:prSet presAssocID="{C463456C-4A1D-4E40-8510-6553A2E08EAC}" presName="parentLin" presStyleCnt="0"/>
      <dgm:spPr/>
    </dgm:pt>
    <dgm:pt modelId="{C8BD45C4-0036-46CC-B694-7420A32F454C}" type="pres">
      <dgm:prSet presAssocID="{C463456C-4A1D-4E40-8510-6553A2E08EAC}" presName="parentLeftMargin" presStyleLbl="node1" presStyleIdx="1" presStyleCnt="4"/>
      <dgm:spPr/>
      <dgm:t>
        <a:bodyPr/>
        <a:lstStyle/>
        <a:p>
          <a:endParaRPr lang="en-US"/>
        </a:p>
      </dgm:t>
    </dgm:pt>
    <dgm:pt modelId="{308892F6-9082-488F-A32B-06D8AF648161}" type="pres">
      <dgm:prSet presAssocID="{C463456C-4A1D-4E40-8510-6553A2E08EAC}" presName="parentText" presStyleLbl="node1" presStyleIdx="2" presStyleCnt="4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6FA02C5B-74D9-43CB-B027-653ED7B3BFFC}" type="pres">
      <dgm:prSet presAssocID="{C463456C-4A1D-4E40-8510-6553A2E08EAC}" presName="negativeSpace" presStyleCnt="0"/>
      <dgm:spPr/>
    </dgm:pt>
    <dgm:pt modelId="{0B15E5D7-78A0-46A8-B805-14B307C3929F}" type="pres">
      <dgm:prSet presAssocID="{C463456C-4A1D-4E40-8510-6553A2E08EAC}" presName="childText" presStyleLbl="conFgAcc1" presStyleIdx="2" presStyleCnt="4">
        <dgm:presLayoutVars>
          <dgm:bulletEnabled val="1"/>
        </dgm:presLayoutVars>
      </dgm:prSet>
      <dgm:spPr/>
    </dgm:pt>
    <dgm:pt modelId="{0C36EB90-198D-4D45-9CDD-1990081AD103}" type="pres">
      <dgm:prSet presAssocID="{8735C32D-8903-4F05-9839-50B435A381BA}" presName="spaceBetweenRectangles" presStyleCnt="0"/>
      <dgm:spPr/>
    </dgm:pt>
    <dgm:pt modelId="{21427D55-DFAE-4CA3-9A53-5F1EC9C88931}" type="pres">
      <dgm:prSet presAssocID="{26F0AFA3-CC61-4F59-B7B4-3EA7C4A98425}" presName="parentLin" presStyleCnt="0"/>
      <dgm:spPr/>
    </dgm:pt>
    <dgm:pt modelId="{9F8A8389-3FE2-4D96-AA3D-FB5EB20EC7BC}" type="pres">
      <dgm:prSet presAssocID="{26F0AFA3-CC61-4F59-B7B4-3EA7C4A98425}" presName="parentLeftMargin" presStyleLbl="node1" presStyleIdx="2" presStyleCnt="4"/>
      <dgm:spPr/>
      <dgm:t>
        <a:bodyPr/>
        <a:lstStyle/>
        <a:p>
          <a:endParaRPr lang="en-US"/>
        </a:p>
      </dgm:t>
    </dgm:pt>
    <dgm:pt modelId="{7A734AB2-47DC-430A-AF94-79125E632AC1}" type="pres">
      <dgm:prSet presAssocID="{26F0AFA3-CC61-4F59-B7B4-3EA7C4A98425}" presName="parentText" presStyleLbl="node1" presStyleIdx="3" presStyleCnt="4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190742E0-A43C-4E73-80CC-7213116E8627}" type="pres">
      <dgm:prSet presAssocID="{26F0AFA3-CC61-4F59-B7B4-3EA7C4A98425}" presName="negativeSpace" presStyleCnt="0"/>
      <dgm:spPr/>
    </dgm:pt>
    <dgm:pt modelId="{E4831231-EA6F-485D-A4BA-3A5CF0E78F22}" type="pres">
      <dgm:prSet presAssocID="{26F0AFA3-CC61-4F59-B7B4-3EA7C4A98425}" presName="childText" presStyleLbl="conFgAcc1" presStyleIdx="3" presStyleCnt="4">
        <dgm:presLayoutVars>
          <dgm:bulletEnabled val="1"/>
        </dgm:presLayoutVars>
      </dgm:prSet>
      <dgm:spPr/>
    </dgm:pt>
  </dgm:ptLst>
  <dgm:cxnLst>
    <dgm:cxn modelId="{04A7A38B-4706-411F-94E1-2690C873B3FC}" type="presOf" srcId="{26F0AFA3-CC61-4F59-B7B4-3EA7C4A98425}" destId="{9F8A8389-3FE2-4D96-AA3D-FB5EB20EC7BC}" srcOrd="0" destOrd="0" presId="urn:microsoft.com/office/officeart/2005/8/layout/list1"/>
    <dgm:cxn modelId="{90D9B9B9-8269-4716-80FB-8B12579D878F}" type="presOf" srcId="{119B03FF-C253-46C1-964C-C5C3A1603D29}" destId="{CB8EBB56-8504-4F7A-BC5D-033D90FEAF3F}" srcOrd="0" destOrd="0" presId="urn:microsoft.com/office/officeart/2005/8/layout/list1"/>
    <dgm:cxn modelId="{89DA0DC9-4CF5-41A0-9270-48BB7F458AE1}" type="presOf" srcId="{119B03FF-C253-46C1-964C-C5C3A1603D29}" destId="{9FF565D8-69D8-4A13-A441-9ED1A07415DC}" srcOrd="1" destOrd="0" presId="urn:microsoft.com/office/officeart/2005/8/layout/list1"/>
    <dgm:cxn modelId="{54C7DEA5-24A0-433A-AB6B-12FA492869ED}" srcId="{E3728C20-EB6D-4606-A9DD-C48473CE9A1D}" destId="{119B03FF-C253-46C1-964C-C5C3A1603D29}" srcOrd="0" destOrd="0" parTransId="{0258A417-15A8-4BDA-B483-9B298AE8E662}" sibTransId="{FDA5D11D-2859-4A7A-B331-964A0D299202}"/>
    <dgm:cxn modelId="{FDBA7897-28EB-4EC8-A8CE-4899C0707E02}" srcId="{E3728C20-EB6D-4606-A9DD-C48473CE9A1D}" destId="{C463456C-4A1D-4E40-8510-6553A2E08EAC}" srcOrd="2" destOrd="0" parTransId="{0F67D353-D3A4-465A-8770-5E0AD74A2096}" sibTransId="{8735C32D-8903-4F05-9839-50B435A381BA}"/>
    <dgm:cxn modelId="{C5339853-13FC-4F4F-9251-C9276A638A54}" srcId="{E3728C20-EB6D-4606-A9DD-C48473CE9A1D}" destId="{5BD1D527-DE68-447D-859E-BEB85E3CD90C}" srcOrd="1" destOrd="0" parTransId="{83EB42C1-B798-48D9-9B39-49A893E02AD9}" sibTransId="{904A278E-F19D-47C5-91B3-BE734CF33B7B}"/>
    <dgm:cxn modelId="{0B8FBC16-E623-4AD7-8BD9-FED2B04659B7}" type="presOf" srcId="{C463456C-4A1D-4E40-8510-6553A2E08EAC}" destId="{308892F6-9082-488F-A32B-06D8AF648161}" srcOrd="1" destOrd="0" presId="urn:microsoft.com/office/officeart/2005/8/layout/list1"/>
    <dgm:cxn modelId="{B20D5451-0FE0-44D0-95B8-AF7E52818564}" type="presOf" srcId="{5BD1D527-DE68-447D-859E-BEB85E3CD90C}" destId="{62C99DC8-ABD1-4BC1-96D5-DB8A95655A56}" srcOrd="0" destOrd="0" presId="urn:microsoft.com/office/officeart/2005/8/layout/list1"/>
    <dgm:cxn modelId="{F7CEB87C-A955-4010-9380-DAA7C37B352D}" type="presOf" srcId="{5BD1D527-DE68-447D-859E-BEB85E3CD90C}" destId="{4F1B875E-30C4-4296-AF0A-B2F0FF98E937}" srcOrd="1" destOrd="0" presId="urn:microsoft.com/office/officeart/2005/8/layout/list1"/>
    <dgm:cxn modelId="{5809D519-7E81-4672-825C-EC1833367ED4}" type="presOf" srcId="{E3728C20-EB6D-4606-A9DD-C48473CE9A1D}" destId="{7DBC65CD-5B2C-42F2-96AE-8E65EEA901A5}" srcOrd="0" destOrd="0" presId="urn:microsoft.com/office/officeart/2005/8/layout/list1"/>
    <dgm:cxn modelId="{F8AE0567-D8C0-4415-A0BC-0769AAF59F2B}" type="presOf" srcId="{C463456C-4A1D-4E40-8510-6553A2E08EAC}" destId="{C8BD45C4-0036-46CC-B694-7420A32F454C}" srcOrd="0" destOrd="0" presId="urn:microsoft.com/office/officeart/2005/8/layout/list1"/>
    <dgm:cxn modelId="{DD81324B-42A3-4F2F-B980-E4C43435144A}" type="presOf" srcId="{26F0AFA3-CC61-4F59-B7B4-3EA7C4A98425}" destId="{7A734AB2-47DC-430A-AF94-79125E632AC1}" srcOrd="1" destOrd="0" presId="urn:microsoft.com/office/officeart/2005/8/layout/list1"/>
    <dgm:cxn modelId="{066F5157-37C0-47DA-86BE-637BB33003CF}" srcId="{E3728C20-EB6D-4606-A9DD-C48473CE9A1D}" destId="{26F0AFA3-CC61-4F59-B7B4-3EA7C4A98425}" srcOrd="3" destOrd="0" parTransId="{C30C10DA-A21E-4EE3-BCB8-764416DE961C}" sibTransId="{21B72554-51FC-4F7F-8CAA-0E8788EDBD44}"/>
    <dgm:cxn modelId="{BE281D30-89E5-4F26-854A-D240C5651CA5}" type="presParOf" srcId="{7DBC65CD-5B2C-42F2-96AE-8E65EEA901A5}" destId="{3D411920-83B9-466E-93C4-84646E5CBD5C}" srcOrd="0" destOrd="0" presId="urn:microsoft.com/office/officeart/2005/8/layout/list1"/>
    <dgm:cxn modelId="{02392F92-6BE5-46F4-8FD4-613901FEB881}" type="presParOf" srcId="{3D411920-83B9-466E-93C4-84646E5CBD5C}" destId="{CB8EBB56-8504-4F7A-BC5D-033D90FEAF3F}" srcOrd="0" destOrd="0" presId="urn:microsoft.com/office/officeart/2005/8/layout/list1"/>
    <dgm:cxn modelId="{0B0DBD41-953D-4B31-A6A1-7CABFD3F0F34}" type="presParOf" srcId="{3D411920-83B9-466E-93C4-84646E5CBD5C}" destId="{9FF565D8-69D8-4A13-A441-9ED1A07415DC}" srcOrd="1" destOrd="0" presId="urn:microsoft.com/office/officeart/2005/8/layout/list1"/>
    <dgm:cxn modelId="{F6581601-7070-498D-ACC4-B7D651823949}" type="presParOf" srcId="{7DBC65CD-5B2C-42F2-96AE-8E65EEA901A5}" destId="{823C9682-A650-42E2-8644-EA9414D4B23A}" srcOrd="1" destOrd="0" presId="urn:microsoft.com/office/officeart/2005/8/layout/list1"/>
    <dgm:cxn modelId="{19B05912-C55E-434D-ACA3-F31E4773E532}" type="presParOf" srcId="{7DBC65CD-5B2C-42F2-96AE-8E65EEA901A5}" destId="{59923391-13B1-4A05-B0BD-54033F5EB283}" srcOrd="2" destOrd="0" presId="urn:microsoft.com/office/officeart/2005/8/layout/list1"/>
    <dgm:cxn modelId="{3E1EA99B-B59B-495B-9B7B-6471B1FD6EED}" type="presParOf" srcId="{7DBC65CD-5B2C-42F2-96AE-8E65EEA901A5}" destId="{198E1732-DCF1-44AD-B512-6B0EEB30425A}" srcOrd="3" destOrd="0" presId="urn:microsoft.com/office/officeart/2005/8/layout/list1"/>
    <dgm:cxn modelId="{9E0FE5A4-DE38-4630-96FE-E59A00C93165}" type="presParOf" srcId="{7DBC65CD-5B2C-42F2-96AE-8E65EEA901A5}" destId="{C8D4A645-FE78-4EAF-9CA3-0252F9794F9B}" srcOrd="4" destOrd="0" presId="urn:microsoft.com/office/officeart/2005/8/layout/list1"/>
    <dgm:cxn modelId="{34436882-2D32-44E3-A89C-F6FAB6A03037}" type="presParOf" srcId="{C8D4A645-FE78-4EAF-9CA3-0252F9794F9B}" destId="{62C99DC8-ABD1-4BC1-96D5-DB8A95655A56}" srcOrd="0" destOrd="0" presId="urn:microsoft.com/office/officeart/2005/8/layout/list1"/>
    <dgm:cxn modelId="{4E7BC5A3-3208-4AB3-BBFD-CC1DBD6A9F27}" type="presParOf" srcId="{C8D4A645-FE78-4EAF-9CA3-0252F9794F9B}" destId="{4F1B875E-30C4-4296-AF0A-B2F0FF98E937}" srcOrd="1" destOrd="0" presId="urn:microsoft.com/office/officeart/2005/8/layout/list1"/>
    <dgm:cxn modelId="{F04C9649-7740-4A91-B04E-C52724DF69D5}" type="presParOf" srcId="{7DBC65CD-5B2C-42F2-96AE-8E65EEA901A5}" destId="{A6BBF129-1C87-48B0-9C84-4586D01AD5ED}" srcOrd="5" destOrd="0" presId="urn:microsoft.com/office/officeart/2005/8/layout/list1"/>
    <dgm:cxn modelId="{4426FE47-93A4-4FEA-B96E-E64C2D63F9E6}" type="presParOf" srcId="{7DBC65CD-5B2C-42F2-96AE-8E65EEA901A5}" destId="{4447009D-8EA2-41AA-BBF3-3154EA9B2F24}" srcOrd="6" destOrd="0" presId="urn:microsoft.com/office/officeart/2005/8/layout/list1"/>
    <dgm:cxn modelId="{CA0D5F24-8ACB-4A13-90B5-5BCCDC2DFA9E}" type="presParOf" srcId="{7DBC65CD-5B2C-42F2-96AE-8E65EEA901A5}" destId="{5F0C58E9-F97A-442E-B4B6-09E33D55B343}" srcOrd="7" destOrd="0" presId="urn:microsoft.com/office/officeart/2005/8/layout/list1"/>
    <dgm:cxn modelId="{CECE3952-5FAB-4661-A210-F7D39B27E6F1}" type="presParOf" srcId="{7DBC65CD-5B2C-42F2-96AE-8E65EEA901A5}" destId="{016FCE31-B27D-40E9-8C7F-46E5079028BF}" srcOrd="8" destOrd="0" presId="urn:microsoft.com/office/officeart/2005/8/layout/list1"/>
    <dgm:cxn modelId="{F1D4F362-1016-44D1-AD9E-E6FBB69E4718}" type="presParOf" srcId="{016FCE31-B27D-40E9-8C7F-46E5079028BF}" destId="{C8BD45C4-0036-46CC-B694-7420A32F454C}" srcOrd="0" destOrd="0" presId="urn:microsoft.com/office/officeart/2005/8/layout/list1"/>
    <dgm:cxn modelId="{2E18BD44-91E0-4FDA-A18D-35BA66226B97}" type="presParOf" srcId="{016FCE31-B27D-40E9-8C7F-46E5079028BF}" destId="{308892F6-9082-488F-A32B-06D8AF648161}" srcOrd="1" destOrd="0" presId="urn:microsoft.com/office/officeart/2005/8/layout/list1"/>
    <dgm:cxn modelId="{A9B854B0-5A5D-4297-81AC-8120875DBAD2}" type="presParOf" srcId="{7DBC65CD-5B2C-42F2-96AE-8E65EEA901A5}" destId="{6FA02C5B-74D9-43CB-B027-653ED7B3BFFC}" srcOrd="9" destOrd="0" presId="urn:microsoft.com/office/officeart/2005/8/layout/list1"/>
    <dgm:cxn modelId="{8F61C9BF-93D4-4116-8BF3-BF95D9BEC8DA}" type="presParOf" srcId="{7DBC65CD-5B2C-42F2-96AE-8E65EEA901A5}" destId="{0B15E5D7-78A0-46A8-B805-14B307C3929F}" srcOrd="10" destOrd="0" presId="urn:microsoft.com/office/officeart/2005/8/layout/list1"/>
    <dgm:cxn modelId="{74BAD095-065A-4CA9-96F2-7CDB5C58DCA5}" type="presParOf" srcId="{7DBC65CD-5B2C-42F2-96AE-8E65EEA901A5}" destId="{0C36EB90-198D-4D45-9CDD-1990081AD103}" srcOrd="11" destOrd="0" presId="urn:microsoft.com/office/officeart/2005/8/layout/list1"/>
    <dgm:cxn modelId="{6AA609B1-9504-4233-AEB6-4B9D52BD7BA7}" type="presParOf" srcId="{7DBC65CD-5B2C-42F2-96AE-8E65EEA901A5}" destId="{21427D55-DFAE-4CA3-9A53-5F1EC9C88931}" srcOrd="12" destOrd="0" presId="urn:microsoft.com/office/officeart/2005/8/layout/list1"/>
    <dgm:cxn modelId="{D0584CFB-DD70-428E-A324-EB244B52C806}" type="presParOf" srcId="{21427D55-DFAE-4CA3-9A53-5F1EC9C88931}" destId="{9F8A8389-3FE2-4D96-AA3D-FB5EB20EC7BC}" srcOrd="0" destOrd="0" presId="urn:microsoft.com/office/officeart/2005/8/layout/list1"/>
    <dgm:cxn modelId="{12FC6C46-6E4F-42AF-94CC-B77AF9196731}" type="presParOf" srcId="{21427D55-DFAE-4CA3-9A53-5F1EC9C88931}" destId="{7A734AB2-47DC-430A-AF94-79125E632AC1}" srcOrd="1" destOrd="0" presId="urn:microsoft.com/office/officeart/2005/8/layout/list1"/>
    <dgm:cxn modelId="{7ED95D09-AC68-4C1F-959C-4AC25A594D33}" type="presParOf" srcId="{7DBC65CD-5B2C-42F2-96AE-8E65EEA901A5}" destId="{190742E0-A43C-4E73-80CC-7213116E8627}" srcOrd="13" destOrd="0" presId="urn:microsoft.com/office/officeart/2005/8/layout/list1"/>
    <dgm:cxn modelId="{60DD5345-A242-47CA-B3A7-F1A6D267E0B9}" type="presParOf" srcId="{7DBC65CD-5B2C-42F2-96AE-8E65EEA901A5}" destId="{E4831231-EA6F-485D-A4BA-3A5CF0E78F22}" srcOrd="14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E3728C20-EB6D-4606-A9DD-C48473CE9A1D}" type="doc">
      <dgm:prSet loTypeId="urn:microsoft.com/office/officeart/2005/8/layout/list1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119B03FF-C253-46C1-964C-C5C3A1603D29}">
      <dgm:prSet phldrT="[Text]"/>
      <dgm:spPr>
        <a:solidFill>
          <a:schemeClr val="accent6">
            <a:alpha val="24000"/>
          </a:schemeClr>
        </a:solidFill>
        <a:effectLst>
          <a:outerShdw blurRad="50800" dist="38100" dir="5400000" algn="t" rotWithShape="0">
            <a:prstClr val="black">
              <a:alpha val="40000"/>
            </a:prstClr>
          </a:outerShdw>
        </a:effectLst>
        <a:scene3d>
          <a:camera prst="perspectiveFront"/>
          <a:lightRig rig="threePt" dir="t"/>
        </a:scene3d>
      </dgm:spPr>
      <dgm:t>
        <a:bodyPr/>
        <a:lstStyle/>
        <a:p>
          <a:r>
            <a:rPr lang="en-US" dirty="0"/>
            <a:t>Basics of Validations/substitutions</a:t>
          </a:r>
        </a:p>
      </dgm:t>
    </dgm:pt>
    <dgm:pt modelId="{0258A417-15A8-4BDA-B483-9B298AE8E662}" type="parTrans" cxnId="{54C7DEA5-24A0-433A-AB6B-12FA492869ED}">
      <dgm:prSet/>
      <dgm:spPr/>
      <dgm:t>
        <a:bodyPr/>
        <a:lstStyle/>
        <a:p>
          <a:endParaRPr lang="en-US"/>
        </a:p>
      </dgm:t>
    </dgm:pt>
    <dgm:pt modelId="{FDA5D11D-2859-4A7A-B331-964A0D299202}" type="sibTrans" cxnId="{54C7DEA5-24A0-433A-AB6B-12FA492869ED}">
      <dgm:prSet/>
      <dgm:spPr>
        <a:ln>
          <a:solidFill>
            <a:schemeClr val="accent6"/>
          </a:solidFill>
        </a:ln>
      </dgm:spPr>
      <dgm:t>
        <a:bodyPr/>
        <a:lstStyle/>
        <a:p>
          <a:endParaRPr lang="en-US"/>
        </a:p>
      </dgm:t>
    </dgm:pt>
    <dgm:pt modelId="{5BD1D527-DE68-447D-859E-BEB85E3CD90C}">
      <dgm:prSet phldrT="[Text]"/>
      <dgm:spPr>
        <a:solidFill>
          <a:schemeClr val="accent6"/>
        </a:solidFill>
        <a:effectLst>
          <a:outerShdw blurRad="50800" dist="38100" dir="5400000" algn="t" rotWithShape="0">
            <a:prstClr val="black">
              <a:alpha val="40000"/>
            </a:prstClr>
          </a:outerShdw>
        </a:effectLst>
        <a:scene3d>
          <a:camera prst="perspectiveFront"/>
          <a:lightRig rig="threePt" dir="t"/>
        </a:scene3d>
      </dgm:spPr>
      <dgm:t>
        <a:bodyPr/>
        <a:lstStyle/>
        <a:p>
          <a:r>
            <a:rPr lang="en-US" dirty="0"/>
            <a:t>Validations in Financial Accounting	</a:t>
          </a:r>
        </a:p>
      </dgm:t>
    </dgm:pt>
    <dgm:pt modelId="{83EB42C1-B798-48D9-9B39-49A893E02AD9}" type="parTrans" cxnId="{C5339853-13FC-4F4F-9251-C9276A638A54}">
      <dgm:prSet/>
      <dgm:spPr/>
      <dgm:t>
        <a:bodyPr/>
        <a:lstStyle/>
        <a:p>
          <a:endParaRPr lang="en-US"/>
        </a:p>
      </dgm:t>
    </dgm:pt>
    <dgm:pt modelId="{904A278E-F19D-47C5-91B3-BE734CF33B7B}" type="sibTrans" cxnId="{C5339853-13FC-4F4F-9251-C9276A638A54}">
      <dgm:prSet/>
      <dgm:spPr>
        <a:ln>
          <a:solidFill>
            <a:schemeClr val="accent6"/>
          </a:solidFill>
        </a:ln>
      </dgm:spPr>
      <dgm:t>
        <a:bodyPr/>
        <a:lstStyle/>
        <a:p>
          <a:endParaRPr lang="en-US"/>
        </a:p>
      </dgm:t>
    </dgm:pt>
    <dgm:pt modelId="{C463456C-4A1D-4E40-8510-6553A2E08EAC}">
      <dgm:prSet phldrT="[Text]"/>
      <dgm:spPr>
        <a:solidFill>
          <a:schemeClr val="accent6">
            <a:alpha val="24000"/>
          </a:schemeClr>
        </a:solidFill>
        <a:effectLst>
          <a:outerShdw blurRad="50800" dist="38100" dir="5400000" algn="t" rotWithShape="0">
            <a:prstClr val="black">
              <a:alpha val="40000"/>
            </a:prstClr>
          </a:outerShdw>
        </a:effectLst>
        <a:scene3d>
          <a:camera prst="perspectiveFront"/>
          <a:lightRig rig="threePt" dir="t"/>
        </a:scene3d>
      </dgm:spPr>
      <dgm:t>
        <a:bodyPr/>
        <a:lstStyle/>
        <a:p>
          <a:r>
            <a:rPr lang="en-US" dirty="0"/>
            <a:t>Substitutions in Financial Accounting</a:t>
          </a:r>
        </a:p>
      </dgm:t>
    </dgm:pt>
    <dgm:pt modelId="{0F67D353-D3A4-465A-8770-5E0AD74A2096}" type="parTrans" cxnId="{FDBA7897-28EB-4EC8-A8CE-4899C0707E02}">
      <dgm:prSet/>
      <dgm:spPr/>
      <dgm:t>
        <a:bodyPr/>
        <a:lstStyle/>
        <a:p>
          <a:endParaRPr lang="en-US"/>
        </a:p>
      </dgm:t>
    </dgm:pt>
    <dgm:pt modelId="{8735C32D-8903-4F05-9839-50B435A381BA}" type="sibTrans" cxnId="{FDBA7897-28EB-4EC8-A8CE-4899C0707E02}">
      <dgm:prSet/>
      <dgm:spPr>
        <a:ln>
          <a:solidFill>
            <a:schemeClr val="accent6"/>
          </a:solidFill>
        </a:ln>
      </dgm:spPr>
      <dgm:t>
        <a:bodyPr/>
        <a:lstStyle/>
        <a:p>
          <a:endParaRPr lang="en-US"/>
        </a:p>
      </dgm:t>
    </dgm:pt>
    <dgm:pt modelId="{26F0AFA3-CC61-4F59-B7B4-3EA7C4A98425}">
      <dgm:prSet phldrT="[Text]"/>
      <dgm:spPr>
        <a:solidFill>
          <a:schemeClr val="accent6">
            <a:alpha val="24000"/>
          </a:schemeClr>
        </a:solidFill>
        <a:effectLst>
          <a:outerShdw blurRad="50800" dist="38100" dir="5400000" algn="t" rotWithShape="0">
            <a:prstClr val="black">
              <a:alpha val="40000"/>
            </a:prstClr>
          </a:outerShdw>
        </a:effectLst>
        <a:scene3d>
          <a:camera prst="perspectiveFront"/>
          <a:lightRig rig="threePt" dir="t"/>
        </a:scene3d>
      </dgm:spPr>
      <dgm:t>
        <a:bodyPr/>
        <a:lstStyle/>
        <a:p>
          <a:r>
            <a:rPr lang="en-US" dirty="0"/>
            <a:t>Rules and Sets</a:t>
          </a:r>
        </a:p>
      </dgm:t>
    </dgm:pt>
    <dgm:pt modelId="{C30C10DA-A21E-4EE3-BCB8-764416DE961C}" type="parTrans" cxnId="{066F5157-37C0-47DA-86BE-637BB33003CF}">
      <dgm:prSet/>
      <dgm:spPr/>
      <dgm:t>
        <a:bodyPr/>
        <a:lstStyle/>
        <a:p>
          <a:endParaRPr lang="en-US"/>
        </a:p>
      </dgm:t>
    </dgm:pt>
    <dgm:pt modelId="{21B72554-51FC-4F7F-8CAA-0E8788EDBD44}" type="sibTrans" cxnId="{066F5157-37C0-47DA-86BE-637BB33003CF}">
      <dgm:prSet/>
      <dgm:spPr>
        <a:ln>
          <a:solidFill>
            <a:schemeClr val="accent6"/>
          </a:solidFill>
        </a:ln>
      </dgm:spPr>
      <dgm:t>
        <a:bodyPr/>
        <a:lstStyle/>
        <a:p>
          <a:endParaRPr lang="en-US"/>
        </a:p>
      </dgm:t>
    </dgm:pt>
    <dgm:pt modelId="{7DBC65CD-5B2C-42F2-96AE-8E65EEA901A5}" type="pres">
      <dgm:prSet presAssocID="{E3728C20-EB6D-4606-A9DD-C48473CE9A1D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3D411920-83B9-466E-93C4-84646E5CBD5C}" type="pres">
      <dgm:prSet presAssocID="{119B03FF-C253-46C1-964C-C5C3A1603D29}" presName="parentLin" presStyleCnt="0"/>
      <dgm:spPr/>
    </dgm:pt>
    <dgm:pt modelId="{CB8EBB56-8504-4F7A-BC5D-033D90FEAF3F}" type="pres">
      <dgm:prSet presAssocID="{119B03FF-C253-46C1-964C-C5C3A1603D29}" presName="parentLeftMargin" presStyleLbl="node1" presStyleIdx="0" presStyleCnt="4"/>
      <dgm:spPr/>
      <dgm:t>
        <a:bodyPr/>
        <a:lstStyle/>
        <a:p>
          <a:endParaRPr lang="en-US"/>
        </a:p>
      </dgm:t>
    </dgm:pt>
    <dgm:pt modelId="{9FF565D8-69D8-4A13-A441-9ED1A07415DC}" type="pres">
      <dgm:prSet presAssocID="{119B03FF-C253-46C1-964C-C5C3A1603D29}" presName="parentText" presStyleLbl="node1" presStyleIdx="0" presStyleCnt="4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23C9682-A650-42E2-8644-EA9414D4B23A}" type="pres">
      <dgm:prSet presAssocID="{119B03FF-C253-46C1-964C-C5C3A1603D29}" presName="negativeSpace" presStyleCnt="0"/>
      <dgm:spPr/>
    </dgm:pt>
    <dgm:pt modelId="{59923391-13B1-4A05-B0BD-54033F5EB283}" type="pres">
      <dgm:prSet presAssocID="{119B03FF-C253-46C1-964C-C5C3A1603D29}" presName="childText" presStyleLbl="conFgAcc1" presStyleIdx="0" presStyleCnt="4">
        <dgm:presLayoutVars>
          <dgm:bulletEnabled val="1"/>
        </dgm:presLayoutVars>
      </dgm:prSet>
      <dgm:spPr/>
    </dgm:pt>
    <dgm:pt modelId="{198E1732-DCF1-44AD-B512-6B0EEB30425A}" type="pres">
      <dgm:prSet presAssocID="{FDA5D11D-2859-4A7A-B331-964A0D299202}" presName="spaceBetweenRectangles" presStyleCnt="0"/>
      <dgm:spPr/>
    </dgm:pt>
    <dgm:pt modelId="{C8D4A645-FE78-4EAF-9CA3-0252F9794F9B}" type="pres">
      <dgm:prSet presAssocID="{5BD1D527-DE68-447D-859E-BEB85E3CD90C}" presName="parentLin" presStyleCnt="0"/>
      <dgm:spPr/>
    </dgm:pt>
    <dgm:pt modelId="{62C99DC8-ABD1-4BC1-96D5-DB8A95655A56}" type="pres">
      <dgm:prSet presAssocID="{5BD1D527-DE68-447D-859E-BEB85E3CD90C}" presName="parentLeftMargin" presStyleLbl="node1" presStyleIdx="0" presStyleCnt="4"/>
      <dgm:spPr/>
      <dgm:t>
        <a:bodyPr/>
        <a:lstStyle/>
        <a:p>
          <a:endParaRPr lang="en-US"/>
        </a:p>
      </dgm:t>
    </dgm:pt>
    <dgm:pt modelId="{4F1B875E-30C4-4296-AF0A-B2F0FF98E937}" type="pres">
      <dgm:prSet presAssocID="{5BD1D527-DE68-447D-859E-BEB85E3CD90C}" presName="parentText" presStyleLbl="node1" presStyleIdx="1" presStyleCnt="4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6BBF129-1C87-48B0-9C84-4586D01AD5ED}" type="pres">
      <dgm:prSet presAssocID="{5BD1D527-DE68-447D-859E-BEB85E3CD90C}" presName="negativeSpace" presStyleCnt="0"/>
      <dgm:spPr/>
    </dgm:pt>
    <dgm:pt modelId="{4447009D-8EA2-41AA-BBF3-3154EA9B2F24}" type="pres">
      <dgm:prSet presAssocID="{5BD1D527-DE68-447D-859E-BEB85E3CD90C}" presName="childText" presStyleLbl="conFgAcc1" presStyleIdx="1" presStyleCnt="4">
        <dgm:presLayoutVars>
          <dgm:bulletEnabled val="1"/>
        </dgm:presLayoutVars>
      </dgm:prSet>
      <dgm:spPr/>
    </dgm:pt>
    <dgm:pt modelId="{5F0C58E9-F97A-442E-B4B6-09E33D55B343}" type="pres">
      <dgm:prSet presAssocID="{904A278E-F19D-47C5-91B3-BE734CF33B7B}" presName="spaceBetweenRectangles" presStyleCnt="0"/>
      <dgm:spPr/>
    </dgm:pt>
    <dgm:pt modelId="{016FCE31-B27D-40E9-8C7F-46E5079028BF}" type="pres">
      <dgm:prSet presAssocID="{C463456C-4A1D-4E40-8510-6553A2E08EAC}" presName="parentLin" presStyleCnt="0"/>
      <dgm:spPr/>
    </dgm:pt>
    <dgm:pt modelId="{C8BD45C4-0036-46CC-B694-7420A32F454C}" type="pres">
      <dgm:prSet presAssocID="{C463456C-4A1D-4E40-8510-6553A2E08EAC}" presName="parentLeftMargin" presStyleLbl="node1" presStyleIdx="1" presStyleCnt="4"/>
      <dgm:spPr/>
      <dgm:t>
        <a:bodyPr/>
        <a:lstStyle/>
        <a:p>
          <a:endParaRPr lang="en-US"/>
        </a:p>
      </dgm:t>
    </dgm:pt>
    <dgm:pt modelId="{308892F6-9082-488F-A32B-06D8AF648161}" type="pres">
      <dgm:prSet presAssocID="{C463456C-4A1D-4E40-8510-6553A2E08EAC}" presName="parentText" presStyleLbl="node1" presStyleIdx="2" presStyleCnt="4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6FA02C5B-74D9-43CB-B027-653ED7B3BFFC}" type="pres">
      <dgm:prSet presAssocID="{C463456C-4A1D-4E40-8510-6553A2E08EAC}" presName="negativeSpace" presStyleCnt="0"/>
      <dgm:spPr/>
    </dgm:pt>
    <dgm:pt modelId="{0B15E5D7-78A0-46A8-B805-14B307C3929F}" type="pres">
      <dgm:prSet presAssocID="{C463456C-4A1D-4E40-8510-6553A2E08EAC}" presName="childText" presStyleLbl="conFgAcc1" presStyleIdx="2" presStyleCnt="4">
        <dgm:presLayoutVars>
          <dgm:bulletEnabled val="1"/>
        </dgm:presLayoutVars>
      </dgm:prSet>
      <dgm:spPr/>
    </dgm:pt>
    <dgm:pt modelId="{0C36EB90-198D-4D45-9CDD-1990081AD103}" type="pres">
      <dgm:prSet presAssocID="{8735C32D-8903-4F05-9839-50B435A381BA}" presName="spaceBetweenRectangles" presStyleCnt="0"/>
      <dgm:spPr/>
    </dgm:pt>
    <dgm:pt modelId="{21427D55-DFAE-4CA3-9A53-5F1EC9C88931}" type="pres">
      <dgm:prSet presAssocID="{26F0AFA3-CC61-4F59-B7B4-3EA7C4A98425}" presName="parentLin" presStyleCnt="0"/>
      <dgm:spPr/>
    </dgm:pt>
    <dgm:pt modelId="{9F8A8389-3FE2-4D96-AA3D-FB5EB20EC7BC}" type="pres">
      <dgm:prSet presAssocID="{26F0AFA3-CC61-4F59-B7B4-3EA7C4A98425}" presName="parentLeftMargin" presStyleLbl="node1" presStyleIdx="2" presStyleCnt="4"/>
      <dgm:spPr/>
      <dgm:t>
        <a:bodyPr/>
        <a:lstStyle/>
        <a:p>
          <a:endParaRPr lang="en-US"/>
        </a:p>
      </dgm:t>
    </dgm:pt>
    <dgm:pt modelId="{7A734AB2-47DC-430A-AF94-79125E632AC1}" type="pres">
      <dgm:prSet presAssocID="{26F0AFA3-CC61-4F59-B7B4-3EA7C4A98425}" presName="parentText" presStyleLbl="node1" presStyleIdx="3" presStyleCnt="4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190742E0-A43C-4E73-80CC-7213116E8627}" type="pres">
      <dgm:prSet presAssocID="{26F0AFA3-CC61-4F59-B7B4-3EA7C4A98425}" presName="negativeSpace" presStyleCnt="0"/>
      <dgm:spPr/>
    </dgm:pt>
    <dgm:pt modelId="{E4831231-EA6F-485D-A4BA-3A5CF0E78F22}" type="pres">
      <dgm:prSet presAssocID="{26F0AFA3-CC61-4F59-B7B4-3EA7C4A98425}" presName="childText" presStyleLbl="conFgAcc1" presStyleIdx="3" presStyleCnt="4">
        <dgm:presLayoutVars>
          <dgm:bulletEnabled val="1"/>
        </dgm:presLayoutVars>
      </dgm:prSet>
      <dgm:spPr/>
    </dgm:pt>
  </dgm:ptLst>
  <dgm:cxnLst>
    <dgm:cxn modelId="{F4FF75D9-6BE2-44ED-9083-5C824779AB07}" type="presOf" srcId="{5BD1D527-DE68-447D-859E-BEB85E3CD90C}" destId="{4F1B875E-30C4-4296-AF0A-B2F0FF98E937}" srcOrd="1" destOrd="0" presId="urn:microsoft.com/office/officeart/2005/8/layout/list1"/>
    <dgm:cxn modelId="{C0C60929-F5A5-4F4F-9391-5B6DF3271CC4}" type="presOf" srcId="{5BD1D527-DE68-447D-859E-BEB85E3CD90C}" destId="{62C99DC8-ABD1-4BC1-96D5-DB8A95655A56}" srcOrd="0" destOrd="0" presId="urn:microsoft.com/office/officeart/2005/8/layout/list1"/>
    <dgm:cxn modelId="{4D00889D-B6E5-4C35-9E82-549A600BDEC3}" type="presOf" srcId="{119B03FF-C253-46C1-964C-C5C3A1603D29}" destId="{9FF565D8-69D8-4A13-A441-9ED1A07415DC}" srcOrd="1" destOrd="0" presId="urn:microsoft.com/office/officeart/2005/8/layout/list1"/>
    <dgm:cxn modelId="{D65F9114-FF84-4548-9F7B-A4CBECCD2D52}" type="presOf" srcId="{119B03FF-C253-46C1-964C-C5C3A1603D29}" destId="{CB8EBB56-8504-4F7A-BC5D-033D90FEAF3F}" srcOrd="0" destOrd="0" presId="urn:microsoft.com/office/officeart/2005/8/layout/list1"/>
    <dgm:cxn modelId="{A3776288-B531-4307-8EF7-4138F8D46202}" type="presOf" srcId="{C463456C-4A1D-4E40-8510-6553A2E08EAC}" destId="{308892F6-9082-488F-A32B-06D8AF648161}" srcOrd="1" destOrd="0" presId="urn:microsoft.com/office/officeart/2005/8/layout/list1"/>
    <dgm:cxn modelId="{15A744F9-C548-4663-8D3B-E9F2A1999136}" type="presOf" srcId="{C463456C-4A1D-4E40-8510-6553A2E08EAC}" destId="{C8BD45C4-0036-46CC-B694-7420A32F454C}" srcOrd="0" destOrd="0" presId="urn:microsoft.com/office/officeart/2005/8/layout/list1"/>
    <dgm:cxn modelId="{054EA5EC-45A3-4E92-BBAC-BD69946D54FB}" type="presOf" srcId="{26F0AFA3-CC61-4F59-B7B4-3EA7C4A98425}" destId="{7A734AB2-47DC-430A-AF94-79125E632AC1}" srcOrd="1" destOrd="0" presId="urn:microsoft.com/office/officeart/2005/8/layout/list1"/>
    <dgm:cxn modelId="{7AC7520E-DF65-4972-B243-E29240E782B4}" type="presOf" srcId="{E3728C20-EB6D-4606-A9DD-C48473CE9A1D}" destId="{7DBC65CD-5B2C-42F2-96AE-8E65EEA901A5}" srcOrd="0" destOrd="0" presId="urn:microsoft.com/office/officeart/2005/8/layout/list1"/>
    <dgm:cxn modelId="{54C7DEA5-24A0-433A-AB6B-12FA492869ED}" srcId="{E3728C20-EB6D-4606-A9DD-C48473CE9A1D}" destId="{119B03FF-C253-46C1-964C-C5C3A1603D29}" srcOrd="0" destOrd="0" parTransId="{0258A417-15A8-4BDA-B483-9B298AE8E662}" sibTransId="{FDA5D11D-2859-4A7A-B331-964A0D299202}"/>
    <dgm:cxn modelId="{FDBA7897-28EB-4EC8-A8CE-4899C0707E02}" srcId="{E3728C20-EB6D-4606-A9DD-C48473CE9A1D}" destId="{C463456C-4A1D-4E40-8510-6553A2E08EAC}" srcOrd="2" destOrd="0" parTransId="{0F67D353-D3A4-465A-8770-5E0AD74A2096}" sibTransId="{8735C32D-8903-4F05-9839-50B435A381BA}"/>
    <dgm:cxn modelId="{C5339853-13FC-4F4F-9251-C9276A638A54}" srcId="{E3728C20-EB6D-4606-A9DD-C48473CE9A1D}" destId="{5BD1D527-DE68-447D-859E-BEB85E3CD90C}" srcOrd="1" destOrd="0" parTransId="{83EB42C1-B798-48D9-9B39-49A893E02AD9}" sibTransId="{904A278E-F19D-47C5-91B3-BE734CF33B7B}"/>
    <dgm:cxn modelId="{D89B809D-A149-40FD-BFD7-0918C3C112E5}" type="presOf" srcId="{26F0AFA3-CC61-4F59-B7B4-3EA7C4A98425}" destId="{9F8A8389-3FE2-4D96-AA3D-FB5EB20EC7BC}" srcOrd="0" destOrd="0" presId="urn:microsoft.com/office/officeart/2005/8/layout/list1"/>
    <dgm:cxn modelId="{066F5157-37C0-47DA-86BE-637BB33003CF}" srcId="{E3728C20-EB6D-4606-A9DD-C48473CE9A1D}" destId="{26F0AFA3-CC61-4F59-B7B4-3EA7C4A98425}" srcOrd="3" destOrd="0" parTransId="{C30C10DA-A21E-4EE3-BCB8-764416DE961C}" sibTransId="{21B72554-51FC-4F7F-8CAA-0E8788EDBD44}"/>
    <dgm:cxn modelId="{A328ABC2-0585-482F-966F-1E79F5C3048C}" type="presParOf" srcId="{7DBC65CD-5B2C-42F2-96AE-8E65EEA901A5}" destId="{3D411920-83B9-466E-93C4-84646E5CBD5C}" srcOrd="0" destOrd="0" presId="urn:microsoft.com/office/officeart/2005/8/layout/list1"/>
    <dgm:cxn modelId="{A43B0F8A-E811-44D2-A7D4-2750D70E0044}" type="presParOf" srcId="{3D411920-83B9-466E-93C4-84646E5CBD5C}" destId="{CB8EBB56-8504-4F7A-BC5D-033D90FEAF3F}" srcOrd="0" destOrd="0" presId="urn:microsoft.com/office/officeart/2005/8/layout/list1"/>
    <dgm:cxn modelId="{B5C7E1B9-3419-49C6-A524-93CC33DFF64B}" type="presParOf" srcId="{3D411920-83B9-466E-93C4-84646E5CBD5C}" destId="{9FF565D8-69D8-4A13-A441-9ED1A07415DC}" srcOrd="1" destOrd="0" presId="urn:microsoft.com/office/officeart/2005/8/layout/list1"/>
    <dgm:cxn modelId="{DE6633E7-47D3-4840-8D18-CE2791365A79}" type="presParOf" srcId="{7DBC65CD-5B2C-42F2-96AE-8E65EEA901A5}" destId="{823C9682-A650-42E2-8644-EA9414D4B23A}" srcOrd="1" destOrd="0" presId="urn:microsoft.com/office/officeart/2005/8/layout/list1"/>
    <dgm:cxn modelId="{0F63CD37-A406-4AD7-9AB0-00E478057986}" type="presParOf" srcId="{7DBC65CD-5B2C-42F2-96AE-8E65EEA901A5}" destId="{59923391-13B1-4A05-B0BD-54033F5EB283}" srcOrd="2" destOrd="0" presId="urn:microsoft.com/office/officeart/2005/8/layout/list1"/>
    <dgm:cxn modelId="{CC2008CB-B704-44E1-A17F-15EB51C79210}" type="presParOf" srcId="{7DBC65CD-5B2C-42F2-96AE-8E65EEA901A5}" destId="{198E1732-DCF1-44AD-B512-6B0EEB30425A}" srcOrd="3" destOrd="0" presId="urn:microsoft.com/office/officeart/2005/8/layout/list1"/>
    <dgm:cxn modelId="{8EB631A9-16CB-434C-B3B8-35E4CCB73E05}" type="presParOf" srcId="{7DBC65CD-5B2C-42F2-96AE-8E65EEA901A5}" destId="{C8D4A645-FE78-4EAF-9CA3-0252F9794F9B}" srcOrd="4" destOrd="0" presId="urn:microsoft.com/office/officeart/2005/8/layout/list1"/>
    <dgm:cxn modelId="{23B3BF48-91E3-4260-BFC7-49CB91527C1E}" type="presParOf" srcId="{C8D4A645-FE78-4EAF-9CA3-0252F9794F9B}" destId="{62C99DC8-ABD1-4BC1-96D5-DB8A95655A56}" srcOrd="0" destOrd="0" presId="urn:microsoft.com/office/officeart/2005/8/layout/list1"/>
    <dgm:cxn modelId="{BC0F3725-B560-453F-B48D-3B8403D90BE7}" type="presParOf" srcId="{C8D4A645-FE78-4EAF-9CA3-0252F9794F9B}" destId="{4F1B875E-30C4-4296-AF0A-B2F0FF98E937}" srcOrd="1" destOrd="0" presId="urn:microsoft.com/office/officeart/2005/8/layout/list1"/>
    <dgm:cxn modelId="{2D2C56AB-80BB-42ED-99EA-2CF0E5A17884}" type="presParOf" srcId="{7DBC65CD-5B2C-42F2-96AE-8E65EEA901A5}" destId="{A6BBF129-1C87-48B0-9C84-4586D01AD5ED}" srcOrd="5" destOrd="0" presId="urn:microsoft.com/office/officeart/2005/8/layout/list1"/>
    <dgm:cxn modelId="{EA217FA1-139B-494A-885A-812EA1E9B2BB}" type="presParOf" srcId="{7DBC65CD-5B2C-42F2-96AE-8E65EEA901A5}" destId="{4447009D-8EA2-41AA-BBF3-3154EA9B2F24}" srcOrd="6" destOrd="0" presId="urn:microsoft.com/office/officeart/2005/8/layout/list1"/>
    <dgm:cxn modelId="{66B3F75B-DD4A-4E09-801B-BE554CA28932}" type="presParOf" srcId="{7DBC65CD-5B2C-42F2-96AE-8E65EEA901A5}" destId="{5F0C58E9-F97A-442E-B4B6-09E33D55B343}" srcOrd="7" destOrd="0" presId="urn:microsoft.com/office/officeart/2005/8/layout/list1"/>
    <dgm:cxn modelId="{8712F6FE-D570-4794-8EF2-7DBBAC45B7B4}" type="presParOf" srcId="{7DBC65CD-5B2C-42F2-96AE-8E65EEA901A5}" destId="{016FCE31-B27D-40E9-8C7F-46E5079028BF}" srcOrd="8" destOrd="0" presId="urn:microsoft.com/office/officeart/2005/8/layout/list1"/>
    <dgm:cxn modelId="{90D2468D-DEE5-41CB-B582-775B194A0870}" type="presParOf" srcId="{016FCE31-B27D-40E9-8C7F-46E5079028BF}" destId="{C8BD45C4-0036-46CC-B694-7420A32F454C}" srcOrd="0" destOrd="0" presId="urn:microsoft.com/office/officeart/2005/8/layout/list1"/>
    <dgm:cxn modelId="{10D44D9F-F00D-4F54-8545-569A0F65E894}" type="presParOf" srcId="{016FCE31-B27D-40E9-8C7F-46E5079028BF}" destId="{308892F6-9082-488F-A32B-06D8AF648161}" srcOrd="1" destOrd="0" presId="urn:microsoft.com/office/officeart/2005/8/layout/list1"/>
    <dgm:cxn modelId="{8D142709-32F4-401A-A784-F33D57756F5D}" type="presParOf" srcId="{7DBC65CD-5B2C-42F2-96AE-8E65EEA901A5}" destId="{6FA02C5B-74D9-43CB-B027-653ED7B3BFFC}" srcOrd="9" destOrd="0" presId="urn:microsoft.com/office/officeart/2005/8/layout/list1"/>
    <dgm:cxn modelId="{59C9AD65-243A-4850-B811-608D2BF3F146}" type="presParOf" srcId="{7DBC65CD-5B2C-42F2-96AE-8E65EEA901A5}" destId="{0B15E5D7-78A0-46A8-B805-14B307C3929F}" srcOrd="10" destOrd="0" presId="urn:microsoft.com/office/officeart/2005/8/layout/list1"/>
    <dgm:cxn modelId="{87FBFC36-750C-4138-A982-02C281442FE8}" type="presParOf" srcId="{7DBC65CD-5B2C-42F2-96AE-8E65EEA901A5}" destId="{0C36EB90-198D-4D45-9CDD-1990081AD103}" srcOrd="11" destOrd="0" presId="urn:microsoft.com/office/officeart/2005/8/layout/list1"/>
    <dgm:cxn modelId="{BE85A580-FD41-4347-8092-784FFF73EA3A}" type="presParOf" srcId="{7DBC65CD-5B2C-42F2-96AE-8E65EEA901A5}" destId="{21427D55-DFAE-4CA3-9A53-5F1EC9C88931}" srcOrd="12" destOrd="0" presId="urn:microsoft.com/office/officeart/2005/8/layout/list1"/>
    <dgm:cxn modelId="{C98BE53D-AC2E-4740-AC1A-660CDA06ECF8}" type="presParOf" srcId="{21427D55-DFAE-4CA3-9A53-5F1EC9C88931}" destId="{9F8A8389-3FE2-4D96-AA3D-FB5EB20EC7BC}" srcOrd="0" destOrd="0" presId="urn:microsoft.com/office/officeart/2005/8/layout/list1"/>
    <dgm:cxn modelId="{CC40DB79-C0D7-4F0F-835D-DD286E870B1C}" type="presParOf" srcId="{21427D55-DFAE-4CA3-9A53-5F1EC9C88931}" destId="{7A734AB2-47DC-430A-AF94-79125E632AC1}" srcOrd="1" destOrd="0" presId="urn:microsoft.com/office/officeart/2005/8/layout/list1"/>
    <dgm:cxn modelId="{225733C5-7F9D-4FF4-A4FA-AA486F4AA388}" type="presParOf" srcId="{7DBC65CD-5B2C-42F2-96AE-8E65EEA901A5}" destId="{190742E0-A43C-4E73-80CC-7213116E8627}" srcOrd="13" destOrd="0" presId="urn:microsoft.com/office/officeart/2005/8/layout/list1"/>
    <dgm:cxn modelId="{41DF8275-4CD9-4557-AFFA-DFB99DF1CF31}" type="presParOf" srcId="{7DBC65CD-5B2C-42F2-96AE-8E65EEA901A5}" destId="{E4831231-EA6F-485D-A4BA-3A5CF0E78F22}" srcOrd="14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E3728C20-EB6D-4606-A9DD-C48473CE9A1D}" type="doc">
      <dgm:prSet loTypeId="urn:microsoft.com/office/officeart/2005/8/layout/list1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119B03FF-C253-46C1-964C-C5C3A1603D29}">
      <dgm:prSet phldrT="[Text]"/>
      <dgm:spPr>
        <a:solidFill>
          <a:schemeClr val="accent6">
            <a:alpha val="24000"/>
          </a:schemeClr>
        </a:solidFill>
        <a:effectLst>
          <a:outerShdw blurRad="50800" dist="38100" dir="5400000" algn="t" rotWithShape="0">
            <a:prstClr val="black">
              <a:alpha val="40000"/>
            </a:prstClr>
          </a:outerShdw>
        </a:effectLst>
        <a:scene3d>
          <a:camera prst="perspectiveFront"/>
          <a:lightRig rig="threePt" dir="t"/>
        </a:scene3d>
      </dgm:spPr>
      <dgm:t>
        <a:bodyPr/>
        <a:lstStyle/>
        <a:p>
          <a:r>
            <a:rPr lang="en-US" dirty="0"/>
            <a:t>Basics of Validations/substitutions</a:t>
          </a:r>
        </a:p>
      </dgm:t>
    </dgm:pt>
    <dgm:pt modelId="{0258A417-15A8-4BDA-B483-9B298AE8E662}" type="parTrans" cxnId="{54C7DEA5-24A0-433A-AB6B-12FA492869ED}">
      <dgm:prSet/>
      <dgm:spPr/>
      <dgm:t>
        <a:bodyPr/>
        <a:lstStyle/>
        <a:p>
          <a:endParaRPr lang="en-US"/>
        </a:p>
      </dgm:t>
    </dgm:pt>
    <dgm:pt modelId="{FDA5D11D-2859-4A7A-B331-964A0D299202}" type="sibTrans" cxnId="{54C7DEA5-24A0-433A-AB6B-12FA492869ED}">
      <dgm:prSet/>
      <dgm:spPr>
        <a:ln>
          <a:solidFill>
            <a:schemeClr val="accent6"/>
          </a:solidFill>
        </a:ln>
      </dgm:spPr>
      <dgm:t>
        <a:bodyPr/>
        <a:lstStyle/>
        <a:p>
          <a:endParaRPr lang="en-US"/>
        </a:p>
      </dgm:t>
    </dgm:pt>
    <dgm:pt modelId="{5BD1D527-DE68-447D-859E-BEB85E3CD90C}">
      <dgm:prSet phldrT="[Text]"/>
      <dgm:spPr>
        <a:solidFill>
          <a:schemeClr val="accent6">
            <a:alpha val="24000"/>
          </a:schemeClr>
        </a:solidFill>
        <a:effectLst>
          <a:outerShdw blurRad="50800" dist="38100" dir="5400000" algn="t" rotWithShape="0">
            <a:prstClr val="black">
              <a:alpha val="40000"/>
            </a:prstClr>
          </a:outerShdw>
        </a:effectLst>
        <a:scene3d>
          <a:camera prst="perspectiveFront"/>
          <a:lightRig rig="threePt" dir="t"/>
        </a:scene3d>
      </dgm:spPr>
      <dgm:t>
        <a:bodyPr/>
        <a:lstStyle/>
        <a:p>
          <a:r>
            <a:rPr lang="en-US" dirty="0"/>
            <a:t>Validations in Financial Accounting	</a:t>
          </a:r>
        </a:p>
      </dgm:t>
    </dgm:pt>
    <dgm:pt modelId="{83EB42C1-B798-48D9-9B39-49A893E02AD9}" type="parTrans" cxnId="{C5339853-13FC-4F4F-9251-C9276A638A54}">
      <dgm:prSet/>
      <dgm:spPr/>
      <dgm:t>
        <a:bodyPr/>
        <a:lstStyle/>
        <a:p>
          <a:endParaRPr lang="en-US"/>
        </a:p>
      </dgm:t>
    </dgm:pt>
    <dgm:pt modelId="{904A278E-F19D-47C5-91B3-BE734CF33B7B}" type="sibTrans" cxnId="{C5339853-13FC-4F4F-9251-C9276A638A54}">
      <dgm:prSet/>
      <dgm:spPr>
        <a:ln>
          <a:solidFill>
            <a:schemeClr val="accent6"/>
          </a:solidFill>
        </a:ln>
      </dgm:spPr>
      <dgm:t>
        <a:bodyPr/>
        <a:lstStyle/>
        <a:p>
          <a:endParaRPr lang="en-US"/>
        </a:p>
      </dgm:t>
    </dgm:pt>
    <dgm:pt modelId="{C463456C-4A1D-4E40-8510-6553A2E08EAC}">
      <dgm:prSet phldrT="[Text]"/>
      <dgm:spPr>
        <a:solidFill>
          <a:schemeClr val="accent6"/>
        </a:solidFill>
        <a:effectLst>
          <a:outerShdw blurRad="50800" dist="38100" dir="5400000" algn="t" rotWithShape="0">
            <a:prstClr val="black">
              <a:alpha val="40000"/>
            </a:prstClr>
          </a:outerShdw>
        </a:effectLst>
        <a:scene3d>
          <a:camera prst="perspectiveFront"/>
          <a:lightRig rig="threePt" dir="t"/>
        </a:scene3d>
      </dgm:spPr>
      <dgm:t>
        <a:bodyPr/>
        <a:lstStyle/>
        <a:p>
          <a:r>
            <a:rPr lang="en-US" dirty="0"/>
            <a:t>Substitutions in Financial Accounting</a:t>
          </a:r>
        </a:p>
      </dgm:t>
    </dgm:pt>
    <dgm:pt modelId="{0F67D353-D3A4-465A-8770-5E0AD74A2096}" type="parTrans" cxnId="{FDBA7897-28EB-4EC8-A8CE-4899C0707E02}">
      <dgm:prSet/>
      <dgm:spPr/>
      <dgm:t>
        <a:bodyPr/>
        <a:lstStyle/>
        <a:p>
          <a:endParaRPr lang="en-US"/>
        </a:p>
      </dgm:t>
    </dgm:pt>
    <dgm:pt modelId="{8735C32D-8903-4F05-9839-50B435A381BA}" type="sibTrans" cxnId="{FDBA7897-28EB-4EC8-A8CE-4899C0707E02}">
      <dgm:prSet/>
      <dgm:spPr>
        <a:ln>
          <a:solidFill>
            <a:schemeClr val="accent6"/>
          </a:solidFill>
        </a:ln>
      </dgm:spPr>
      <dgm:t>
        <a:bodyPr/>
        <a:lstStyle/>
        <a:p>
          <a:endParaRPr lang="en-US"/>
        </a:p>
      </dgm:t>
    </dgm:pt>
    <dgm:pt modelId="{26F0AFA3-CC61-4F59-B7B4-3EA7C4A98425}">
      <dgm:prSet phldrT="[Text]"/>
      <dgm:spPr>
        <a:solidFill>
          <a:schemeClr val="accent6">
            <a:alpha val="24000"/>
          </a:schemeClr>
        </a:solidFill>
        <a:effectLst>
          <a:outerShdw blurRad="50800" dist="38100" dir="5400000" algn="t" rotWithShape="0">
            <a:prstClr val="black">
              <a:alpha val="40000"/>
            </a:prstClr>
          </a:outerShdw>
        </a:effectLst>
        <a:scene3d>
          <a:camera prst="perspectiveFront"/>
          <a:lightRig rig="threePt" dir="t"/>
        </a:scene3d>
      </dgm:spPr>
      <dgm:t>
        <a:bodyPr/>
        <a:lstStyle/>
        <a:p>
          <a:r>
            <a:rPr lang="en-US" dirty="0"/>
            <a:t>Rules and Sets</a:t>
          </a:r>
        </a:p>
      </dgm:t>
    </dgm:pt>
    <dgm:pt modelId="{C30C10DA-A21E-4EE3-BCB8-764416DE961C}" type="parTrans" cxnId="{066F5157-37C0-47DA-86BE-637BB33003CF}">
      <dgm:prSet/>
      <dgm:spPr/>
      <dgm:t>
        <a:bodyPr/>
        <a:lstStyle/>
        <a:p>
          <a:endParaRPr lang="en-US"/>
        </a:p>
      </dgm:t>
    </dgm:pt>
    <dgm:pt modelId="{21B72554-51FC-4F7F-8CAA-0E8788EDBD44}" type="sibTrans" cxnId="{066F5157-37C0-47DA-86BE-637BB33003CF}">
      <dgm:prSet/>
      <dgm:spPr>
        <a:ln>
          <a:solidFill>
            <a:schemeClr val="accent6"/>
          </a:solidFill>
        </a:ln>
      </dgm:spPr>
      <dgm:t>
        <a:bodyPr/>
        <a:lstStyle/>
        <a:p>
          <a:endParaRPr lang="en-US"/>
        </a:p>
      </dgm:t>
    </dgm:pt>
    <dgm:pt modelId="{7DBC65CD-5B2C-42F2-96AE-8E65EEA901A5}" type="pres">
      <dgm:prSet presAssocID="{E3728C20-EB6D-4606-A9DD-C48473CE9A1D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3D411920-83B9-466E-93C4-84646E5CBD5C}" type="pres">
      <dgm:prSet presAssocID="{119B03FF-C253-46C1-964C-C5C3A1603D29}" presName="parentLin" presStyleCnt="0"/>
      <dgm:spPr/>
    </dgm:pt>
    <dgm:pt modelId="{CB8EBB56-8504-4F7A-BC5D-033D90FEAF3F}" type="pres">
      <dgm:prSet presAssocID="{119B03FF-C253-46C1-964C-C5C3A1603D29}" presName="parentLeftMargin" presStyleLbl="node1" presStyleIdx="0" presStyleCnt="4"/>
      <dgm:spPr/>
      <dgm:t>
        <a:bodyPr/>
        <a:lstStyle/>
        <a:p>
          <a:endParaRPr lang="en-US"/>
        </a:p>
      </dgm:t>
    </dgm:pt>
    <dgm:pt modelId="{9FF565D8-69D8-4A13-A441-9ED1A07415DC}" type="pres">
      <dgm:prSet presAssocID="{119B03FF-C253-46C1-964C-C5C3A1603D29}" presName="parentText" presStyleLbl="node1" presStyleIdx="0" presStyleCnt="4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23C9682-A650-42E2-8644-EA9414D4B23A}" type="pres">
      <dgm:prSet presAssocID="{119B03FF-C253-46C1-964C-C5C3A1603D29}" presName="negativeSpace" presStyleCnt="0"/>
      <dgm:spPr/>
    </dgm:pt>
    <dgm:pt modelId="{59923391-13B1-4A05-B0BD-54033F5EB283}" type="pres">
      <dgm:prSet presAssocID="{119B03FF-C253-46C1-964C-C5C3A1603D29}" presName="childText" presStyleLbl="conFgAcc1" presStyleIdx="0" presStyleCnt="4">
        <dgm:presLayoutVars>
          <dgm:bulletEnabled val="1"/>
        </dgm:presLayoutVars>
      </dgm:prSet>
      <dgm:spPr/>
    </dgm:pt>
    <dgm:pt modelId="{198E1732-DCF1-44AD-B512-6B0EEB30425A}" type="pres">
      <dgm:prSet presAssocID="{FDA5D11D-2859-4A7A-B331-964A0D299202}" presName="spaceBetweenRectangles" presStyleCnt="0"/>
      <dgm:spPr/>
    </dgm:pt>
    <dgm:pt modelId="{C8D4A645-FE78-4EAF-9CA3-0252F9794F9B}" type="pres">
      <dgm:prSet presAssocID="{5BD1D527-DE68-447D-859E-BEB85E3CD90C}" presName="parentLin" presStyleCnt="0"/>
      <dgm:spPr/>
    </dgm:pt>
    <dgm:pt modelId="{62C99DC8-ABD1-4BC1-96D5-DB8A95655A56}" type="pres">
      <dgm:prSet presAssocID="{5BD1D527-DE68-447D-859E-BEB85E3CD90C}" presName="parentLeftMargin" presStyleLbl="node1" presStyleIdx="0" presStyleCnt="4"/>
      <dgm:spPr/>
      <dgm:t>
        <a:bodyPr/>
        <a:lstStyle/>
        <a:p>
          <a:endParaRPr lang="en-US"/>
        </a:p>
      </dgm:t>
    </dgm:pt>
    <dgm:pt modelId="{4F1B875E-30C4-4296-AF0A-B2F0FF98E937}" type="pres">
      <dgm:prSet presAssocID="{5BD1D527-DE68-447D-859E-BEB85E3CD90C}" presName="parentText" presStyleLbl="node1" presStyleIdx="1" presStyleCnt="4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6BBF129-1C87-48B0-9C84-4586D01AD5ED}" type="pres">
      <dgm:prSet presAssocID="{5BD1D527-DE68-447D-859E-BEB85E3CD90C}" presName="negativeSpace" presStyleCnt="0"/>
      <dgm:spPr/>
    </dgm:pt>
    <dgm:pt modelId="{4447009D-8EA2-41AA-BBF3-3154EA9B2F24}" type="pres">
      <dgm:prSet presAssocID="{5BD1D527-DE68-447D-859E-BEB85E3CD90C}" presName="childText" presStyleLbl="conFgAcc1" presStyleIdx="1" presStyleCnt="4">
        <dgm:presLayoutVars>
          <dgm:bulletEnabled val="1"/>
        </dgm:presLayoutVars>
      </dgm:prSet>
      <dgm:spPr/>
    </dgm:pt>
    <dgm:pt modelId="{5F0C58E9-F97A-442E-B4B6-09E33D55B343}" type="pres">
      <dgm:prSet presAssocID="{904A278E-F19D-47C5-91B3-BE734CF33B7B}" presName="spaceBetweenRectangles" presStyleCnt="0"/>
      <dgm:spPr/>
    </dgm:pt>
    <dgm:pt modelId="{016FCE31-B27D-40E9-8C7F-46E5079028BF}" type="pres">
      <dgm:prSet presAssocID="{C463456C-4A1D-4E40-8510-6553A2E08EAC}" presName="parentLin" presStyleCnt="0"/>
      <dgm:spPr/>
    </dgm:pt>
    <dgm:pt modelId="{C8BD45C4-0036-46CC-B694-7420A32F454C}" type="pres">
      <dgm:prSet presAssocID="{C463456C-4A1D-4E40-8510-6553A2E08EAC}" presName="parentLeftMargin" presStyleLbl="node1" presStyleIdx="1" presStyleCnt="4"/>
      <dgm:spPr/>
      <dgm:t>
        <a:bodyPr/>
        <a:lstStyle/>
        <a:p>
          <a:endParaRPr lang="en-US"/>
        </a:p>
      </dgm:t>
    </dgm:pt>
    <dgm:pt modelId="{308892F6-9082-488F-A32B-06D8AF648161}" type="pres">
      <dgm:prSet presAssocID="{C463456C-4A1D-4E40-8510-6553A2E08EAC}" presName="parentText" presStyleLbl="node1" presStyleIdx="2" presStyleCnt="4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6FA02C5B-74D9-43CB-B027-653ED7B3BFFC}" type="pres">
      <dgm:prSet presAssocID="{C463456C-4A1D-4E40-8510-6553A2E08EAC}" presName="negativeSpace" presStyleCnt="0"/>
      <dgm:spPr/>
    </dgm:pt>
    <dgm:pt modelId="{0B15E5D7-78A0-46A8-B805-14B307C3929F}" type="pres">
      <dgm:prSet presAssocID="{C463456C-4A1D-4E40-8510-6553A2E08EAC}" presName="childText" presStyleLbl="conFgAcc1" presStyleIdx="2" presStyleCnt="4">
        <dgm:presLayoutVars>
          <dgm:bulletEnabled val="1"/>
        </dgm:presLayoutVars>
      </dgm:prSet>
      <dgm:spPr/>
    </dgm:pt>
    <dgm:pt modelId="{0C36EB90-198D-4D45-9CDD-1990081AD103}" type="pres">
      <dgm:prSet presAssocID="{8735C32D-8903-4F05-9839-50B435A381BA}" presName="spaceBetweenRectangles" presStyleCnt="0"/>
      <dgm:spPr/>
    </dgm:pt>
    <dgm:pt modelId="{21427D55-DFAE-4CA3-9A53-5F1EC9C88931}" type="pres">
      <dgm:prSet presAssocID="{26F0AFA3-CC61-4F59-B7B4-3EA7C4A98425}" presName="parentLin" presStyleCnt="0"/>
      <dgm:spPr/>
    </dgm:pt>
    <dgm:pt modelId="{9F8A8389-3FE2-4D96-AA3D-FB5EB20EC7BC}" type="pres">
      <dgm:prSet presAssocID="{26F0AFA3-CC61-4F59-B7B4-3EA7C4A98425}" presName="parentLeftMargin" presStyleLbl="node1" presStyleIdx="2" presStyleCnt="4"/>
      <dgm:spPr/>
      <dgm:t>
        <a:bodyPr/>
        <a:lstStyle/>
        <a:p>
          <a:endParaRPr lang="en-US"/>
        </a:p>
      </dgm:t>
    </dgm:pt>
    <dgm:pt modelId="{7A734AB2-47DC-430A-AF94-79125E632AC1}" type="pres">
      <dgm:prSet presAssocID="{26F0AFA3-CC61-4F59-B7B4-3EA7C4A98425}" presName="parentText" presStyleLbl="node1" presStyleIdx="3" presStyleCnt="4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190742E0-A43C-4E73-80CC-7213116E8627}" type="pres">
      <dgm:prSet presAssocID="{26F0AFA3-CC61-4F59-B7B4-3EA7C4A98425}" presName="negativeSpace" presStyleCnt="0"/>
      <dgm:spPr/>
    </dgm:pt>
    <dgm:pt modelId="{E4831231-EA6F-485D-A4BA-3A5CF0E78F22}" type="pres">
      <dgm:prSet presAssocID="{26F0AFA3-CC61-4F59-B7B4-3EA7C4A98425}" presName="childText" presStyleLbl="conFgAcc1" presStyleIdx="3" presStyleCnt="4">
        <dgm:presLayoutVars>
          <dgm:bulletEnabled val="1"/>
        </dgm:presLayoutVars>
      </dgm:prSet>
      <dgm:spPr/>
    </dgm:pt>
  </dgm:ptLst>
  <dgm:cxnLst>
    <dgm:cxn modelId="{90F9AAFF-A1CD-4D6A-BA6C-99D66FCA0F8E}" type="presOf" srcId="{C463456C-4A1D-4E40-8510-6553A2E08EAC}" destId="{C8BD45C4-0036-46CC-B694-7420A32F454C}" srcOrd="0" destOrd="0" presId="urn:microsoft.com/office/officeart/2005/8/layout/list1"/>
    <dgm:cxn modelId="{489A892E-DEB9-49D3-B323-57A100C952E9}" type="presOf" srcId="{5BD1D527-DE68-447D-859E-BEB85E3CD90C}" destId="{62C99DC8-ABD1-4BC1-96D5-DB8A95655A56}" srcOrd="0" destOrd="0" presId="urn:microsoft.com/office/officeart/2005/8/layout/list1"/>
    <dgm:cxn modelId="{54C7DEA5-24A0-433A-AB6B-12FA492869ED}" srcId="{E3728C20-EB6D-4606-A9DD-C48473CE9A1D}" destId="{119B03FF-C253-46C1-964C-C5C3A1603D29}" srcOrd="0" destOrd="0" parTransId="{0258A417-15A8-4BDA-B483-9B298AE8E662}" sibTransId="{FDA5D11D-2859-4A7A-B331-964A0D299202}"/>
    <dgm:cxn modelId="{FDBA7897-28EB-4EC8-A8CE-4899C0707E02}" srcId="{E3728C20-EB6D-4606-A9DD-C48473CE9A1D}" destId="{C463456C-4A1D-4E40-8510-6553A2E08EAC}" srcOrd="2" destOrd="0" parTransId="{0F67D353-D3A4-465A-8770-5E0AD74A2096}" sibTransId="{8735C32D-8903-4F05-9839-50B435A381BA}"/>
    <dgm:cxn modelId="{0C501497-87EF-4625-A3EC-CF3534EA8EED}" type="presOf" srcId="{119B03FF-C253-46C1-964C-C5C3A1603D29}" destId="{CB8EBB56-8504-4F7A-BC5D-033D90FEAF3F}" srcOrd="0" destOrd="0" presId="urn:microsoft.com/office/officeart/2005/8/layout/list1"/>
    <dgm:cxn modelId="{F661D269-0B26-40E7-BA4E-756630ED0799}" type="presOf" srcId="{119B03FF-C253-46C1-964C-C5C3A1603D29}" destId="{9FF565D8-69D8-4A13-A441-9ED1A07415DC}" srcOrd="1" destOrd="0" presId="urn:microsoft.com/office/officeart/2005/8/layout/list1"/>
    <dgm:cxn modelId="{C5339853-13FC-4F4F-9251-C9276A638A54}" srcId="{E3728C20-EB6D-4606-A9DD-C48473CE9A1D}" destId="{5BD1D527-DE68-447D-859E-BEB85E3CD90C}" srcOrd="1" destOrd="0" parTransId="{83EB42C1-B798-48D9-9B39-49A893E02AD9}" sibTransId="{904A278E-F19D-47C5-91B3-BE734CF33B7B}"/>
    <dgm:cxn modelId="{56D68705-A346-41D6-B1DF-8AC6F21ADB5C}" type="presOf" srcId="{26F0AFA3-CC61-4F59-B7B4-3EA7C4A98425}" destId="{9F8A8389-3FE2-4D96-AA3D-FB5EB20EC7BC}" srcOrd="0" destOrd="0" presId="urn:microsoft.com/office/officeart/2005/8/layout/list1"/>
    <dgm:cxn modelId="{B0117B14-0E99-4194-9B4F-09DE93A66DC5}" type="presOf" srcId="{5BD1D527-DE68-447D-859E-BEB85E3CD90C}" destId="{4F1B875E-30C4-4296-AF0A-B2F0FF98E937}" srcOrd="1" destOrd="0" presId="urn:microsoft.com/office/officeart/2005/8/layout/list1"/>
    <dgm:cxn modelId="{8DC36495-A30F-4363-BCCE-D11E9320D405}" type="presOf" srcId="{26F0AFA3-CC61-4F59-B7B4-3EA7C4A98425}" destId="{7A734AB2-47DC-430A-AF94-79125E632AC1}" srcOrd="1" destOrd="0" presId="urn:microsoft.com/office/officeart/2005/8/layout/list1"/>
    <dgm:cxn modelId="{8B59EBD3-6B98-4893-B120-F19C805E6518}" type="presOf" srcId="{E3728C20-EB6D-4606-A9DD-C48473CE9A1D}" destId="{7DBC65CD-5B2C-42F2-96AE-8E65EEA901A5}" srcOrd="0" destOrd="0" presId="urn:microsoft.com/office/officeart/2005/8/layout/list1"/>
    <dgm:cxn modelId="{ABB14637-44B5-4584-B48C-55D856EC248F}" type="presOf" srcId="{C463456C-4A1D-4E40-8510-6553A2E08EAC}" destId="{308892F6-9082-488F-A32B-06D8AF648161}" srcOrd="1" destOrd="0" presId="urn:microsoft.com/office/officeart/2005/8/layout/list1"/>
    <dgm:cxn modelId="{066F5157-37C0-47DA-86BE-637BB33003CF}" srcId="{E3728C20-EB6D-4606-A9DD-C48473CE9A1D}" destId="{26F0AFA3-CC61-4F59-B7B4-3EA7C4A98425}" srcOrd="3" destOrd="0" parTransId="{C30C10DA-A21E-4EE3-BCB8-764416DE961C}" sibTransId="{21B72554-51FC-4F7F-8CAA-0E8788EDBD44}"/>
    <dgm:cxn modelId="{13A3DF3A-2A44-4526-A56B-08816C404DB4}" type="presParOf" srcId="{7DBC65CD-5B2C-42F2-96AE-8E65EEA901A5}" destId="{3D411920-83B9-466E-93C4-84646E5CBD5C}" srcOrd="0" destOrd="0" presId="urn:microsoft.com/office/officeart/2005/8/layout/list1"/>
    <dgm:cxn modelId="{7482AAE2-FA81-4471-A2D6-52DAC2039078}" type="presParOf" srcId="{3D411920-83B9-466E-93C4-84646E5CBD5C}" destId="{CB8EBB56-8504-4F7A-BC5D-033D90FEAF3F}" srcOrd="0" destOrd="0" presId="urn:microsoft.com/office/officeart/2005/8/layout/list1"/>
    <dgm:cxn modelId="{D6A8915D-D3A5-48A9-93DF-921F0B6F933E}" type="presParOf" srcId="{3D411920-83B9-466E-93C4-84646E5CBD5C}" destId="{9FF565D8-69D8-4A13-A441-9ED1A07415DC}" srcOrd="1" destOrd="0" presId="urn:microsoft.com/office/officeart/2005/8/layout/list1"/>
    <dgm:cxn modelId="{DED7B739-0361-41E1-BE33-4B6392F9BC13}" type="presParOf" srcId="{7DBC65CD-5B2C-42F2-96AE-8E65EEA901A5}" destId="{823C9682-A650-42E2-8644-EA9414D4B23A}" srcOrd="1" destOrd="0" presId="urn:microsoft.com/office/officeart/2005/8/layout/list1"/>
    <dgm:cxn modelId="{F17178B3-939D-461C-8D39-9A4FCA10B9D8}" type="presParOf" srcId="{7DBC65CD-5B2C-42F2-96AE-8E65EEA901A5}" destId="{59923391-13B1-4A05-B0BD-54033F5EB283}" srcOrd="2" destOrd="0" presId="urn:microsoft.com/office/officeart/2005/8/layout/list1"/>
    <dgm:cxn modelId="{1CFBE9EC-196F-466C-BAD6-44B64F404C75}" type="presParOf" srcId="{7DBC65CD-5B2C-42F2-96AE-8E65EEA901A5}" destId="{198E1732-DCF1-44AD-B512-6B0EEB30425A}" srcOrd="3" destOrd="0" presId="urn:microsoft.com/office/officeart/2005/8/layout/list1"/>
    <dgm:cxn modelId="{9D0E447B-96FF-45C1-BD9E-153725193A45}" type="presParOf" srcId="{7DBC65CD-5B2C-42F2-96AE-8E65EEA901A5}" destId="{C8D4A645-FE78-4EAF-9CA3-0252F9794F9B}" srcOrd="4" destOrd="0" presId="urn:microsoft.com/office/officeart/2005/8/layout/list1"/>
    <dgm:cxn modelId="{01D7DBCD-A588-4308-ABDF-13C15247BDE9}" type="presParOf" srcId="{C8D4A645-FE78-4EAF-9CA3-0252F9794F9B}" destId="{62C99DC8-ABD1-4BC1-96D5-DB8A95655A56}" srcOrd="0" destOrd="0" presId="urn:microsoft.com/office/officeart/2005/8/layout/list1"/>
    <dgm:cxn modelId="{7E6BD8B2-74D7-4431-A13D-04C38E87451E}" type="presParOf" srcId="{C8D4A645-FE78-4EAF-9CA3-0252F9794F9B}" destId="{4F1B875E-30C4-4296-AF0A-B2F0FF98E937}" srcOrd="1" destOrd="0" presId="urn:microsoft.com/office/officeart/2005/8/layout/list1"/>
    <dgm:cxn modelId="{4609E774-EFFC-403C-AF11-39BDAE5E4FCF}" type="presParOf" srcId="{7DBC65CD-5B2C-42F2-96AE-8E65EEA901A5}" destId="{A6BBF129-1C87-48B0-9C84-4586D01AD5ED}" srcOrd="5" destOrd="0" presId="urn:microsoft.com/office/officeart/2005/8/layout/list1"/>
    <dgm:cxn modelId="{361EBBF9-30B7-4CEB-8309-6EEA61BE39E2}" type="presParOf" srcId="{7DBC65CD-5B2C-42F2-96AE-8E65EEA901A5}" destId="{4447009D-8EA2-41AA-BBF3-3154EA9B2F24}" srcOrd="6" destOrd="0" presId="urn:microsoft.com/office/officeart/2005/8/layout/list1"/>
    <dgm:cxn modelId="{6D71B865-C459-47E5-B115-C05EC72E4EDA}" type="presParOf" srcId="{7DBC65CD-5B2C-42F2-96AE-8E65EEA901A5}" destId="{5F0C58E9-F97A-442E-B4B6-09E33D55B343}" srcOrd="7" destOrd="0" presId="urn:microsoft.com/office/officeart/2005/8/layout/list1"/>
    <dgm:cxn modelId="{614E4F61-3A19-4356-A883-5EA62B0EBD08}" type="presParOf" srcId="{7DBC65CD-5B2C-42F2-96AE-8E65EEA901A5}" destId="{016FCE31-B27D-40E9-8C7F-46E5079028BF}" srcOrd="8" destOrd="0" presId="urn:microsoft.com/office/officeart/2005/8/layout/list1"/>
    <dgm:cxn modelId="{BCD02997-A3C5-4085-ACD0-CF07EA106C71}" type="presParOf" srcId="{016FCE31-B27D-40E9-8C7F-46E5079028BF}" destId="{C8BD45C4-0036-46CC-B694-7420A32F454C}" srcOrd="0" destOrd="0" presId="urn:microsoft.com/office/officeart/2005/8/layout/list1"/>
    <dgm:cxn modelId="{0607D1C2-7E55-45C7-9F08-E0D36EBB7FF4}" type="presParOf" srcId="{016FCE31-B27D-40E9-8C7F-46E5079028BF}" destId="{308892F6-9082-488F-A32B-06D8AF648161}" srcOrd="1" destOrd="0" presId="urn:microsoft.com/office/officeart/2005/8/layout/list1"/>
    <dgm:cxn modelId="{2FBAFFAC-1CA3-45A5-8385-68F256C54655}" type="presParOf" srcId="{7DBC65CD-5B2C-42F2-96AE-8E65EEA901A5}" destId="{6FA02C5B-74D9-43CB-B027-653ED7B3BFFC}" srcOrd="9" destOrd="0" presId="urn:microsoft.com/office/officeart/2005/8/layout/list1"/>
    <dgm:cxn modelId="{44DC571B-9AB1-4F72-8A4A-DFB4C0167686}" type="presParOf" srcId="{7DBC65CD-5B2C-42F2-96AE-8E65EEA901A5}" destId="{0B15E5D7-78A0-46A8-B805-14B307C3929F}" srcOrd="10" destOrd="0" presId="urn:microsoft.com/office/officeart/2005/8/layout/list1"/>
    <dgm:cxn modelId="{56740F08-154D-4F09-A1C4-937A5001646D}" type="presParOf" srcId="{7DBC65CD-5B2C-42F2-96AE-8E65EEA901A5}" destId="{0C36EB90-198D-4D45-9CDD-1990081AD103}" srcOrd="11" destOrd="0" presId="urn:microsoft.com/office/officeart/2005/8/layout/list1"/>
    <dgm:cxn modelId="{8C0ABC96-2B6A-4F87-92D8-6F2972F29486}" type="presParOf" srcId="{7DBC65CD-5B2C-42F2-96AE-8E65EEA901A5}" destId="{21427D55-DFAE-4CA3-9A53-5F1EC9C88931}" srcOrd="12" destOrd="0" presId="urn:microsoft.com/office/officeart/2005/8/layout/list1"/>
    <dgm:cxn modelId="{EA0DA017-F3A8-4CE1-A93E-82559CC334DB}" type="presParOf" srcId="{21427D55-DFAE-4CA3-9A53-5F1EC9C88931}" destId="{9F8A8389-3FE2-4D96-AA3D-FB5EB20EC7BC}" srcOrd="0" destOrd="0" presId="urn:microsoft.com/office/officeart/2005/8/layout/list1"/>
    <dgm:cxn modelId="{0C3CEE3E-4377-4E88-BA75-65B87E88DCB5}" type="presParOf" srcId="{21427D55-DFAE-4CA3-9A53-5F1EC9C88931}" destId="{7A734AB2-47DC-430A-AF94-79125E632AC1}" srcOrd="1" destOrd="0" presId="urn:microsoft.com/office/officeart/2005/8/layout/list1"/>
    <dgm:cxn modelId="{C51ADF65-AB5B-4B23-8E5A-4FDB2BF69101}" type="presParOf" srcId="{7DBC65CD-5B2C-42F2-96AE-8E65EEA901A5}" destId="{190742E0-A43C-4E73-80CC-7213116E8627}" srcOrd="13" destOrd="0" presId="urn:microsoft.com/office/officeart/2005/8/layout/list1"/>
    <dgm:cxn modelId="{495C7D95-D617-465F-A482-E0BEEB05E290}" type="presParOf" srcId="{7DBC65CD-5B2C-42F2-96AE-8E65EEA901A5}" destId="{E4831231-EA6F-485D-A4BA-3A5CF0E78F22}" srcOrd="14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E3728C20-EB6D-4606-A9DD-C48473CE9A1D}" type="doc">
      <dgm:prSet loTypeId="urn:microsoft.com/office/officeart/2005/8/layout/list1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119B03FF-C253-46C1-964C-C5C3A1603D29}">
      <dgm:prSet phldrT="[Text]"/>
      <dgm:spPr>
        <a:solidFill>
          <a:schemeClr val="accent6">
            <a:alpha val="24000"/>
          </a:schemeClr>
        </a:solidFill>
        <a:effectLst>
          <a:outerShdw blurRad="50800" dist="38100" dir="5400000" algn="t" rotWithShape="0">
            <a:prstClr val="black">
              <a:alpha val="40000"/>
            </a:prstClr>
          </a:outerShdw>
        </a:effectLst>
        <a:scene3d>
          <a:camera prst="perspectiveFront"/>
          <a:lightRig rig="threePt" dir="t"/>
        </a:scene3d>
      </dgm:spPr>
      <dgm:t>
        <a:bodyPr/>
        <a:lstStyle/>
        <a:p>
          <a:r>
            <a:rPr lang="en-US" dirty="0"/>
            <a:t>Basics of Validations/substitutions</a:t>
          </a:r>
        </a:p>
      </dgm:t>
    </dgm:pt>
    <dgm:pt modelId="{0258A417-15A8-4BDA-B483-9B298AE8E662}" type="parTrans" cxnId="{54C7DEA5-24A0-433A-AB6B-12FA492869ED}">
      <dgm:prSet/>
      <dgm:spPr/>
      <dgm:t>
        <a:bodyPr/>
        <a:lstStyle/>
        <a:p>
          <a:endParaRPr lang="en-US"/>
        </a:p>
      </dgm:t>
    </dgm:pt>
    <dgm:pt modelId="{FDA5D11D-2859-4A7A-B331-964A0D299202}" type="sibTrans" cxnId="{54C7DEA5-24A0-433A-AB6B-12FA492869ED}">
      <dgm:prSet/>
      <dgm:spPr>
        <a:ln>
          <a:solidFill>
            <a:schemeClr val="accent6"/>
          </a:solidFill>
        </a:ln>
      </dgm:spPr>
      <dgm:t>
        <a:bodyPr/>
        <a:lstStyle/>
        <a:p>
          <a:endParaRPr lang="en-US"/>
        </a:p>
      </dgm:t>
    </dgm:pt>
    <dgm:pt modelId="{5BD1D527-DE68-447D-859E-BEB85E3CD90C}">
      <dgm:prSet phldrT="[Text]"/>
      <dgm:spPr>
        <a:solidFill>
          <a:schemeClr val="accent6">
            <a:alpha val="24000"/>
          </a:schemeClr>
        </a:solidFill>
        <a:effectLst>
          <a:outerShdw blurRad="50800" dist="38100" dir="5400000" algn="t" rotWithShape="0">
            <a:prstClr val="black">
              <a:alpha val="40000"/>
            </a:prstClr>
          </a:outerShdw>
        </a:effectLst>
        <a:scene3d>
          <a:camera prst="perspectiveFront"/>
          <a:lightRig rig="threePt" dir="t"/>
        </a:scene3d>
      </dgm:spPr>
      <dgm:t>
        <a:bodyPr/>
        <a:lstStyle/>
        <a:p>
          <a:r>
            <a:rPr lang="en-US" dirty="0"/>
            <a:t>Validations in Financial Accounting	</a:t>
          </a:r>
        </a:p>
      </dgm:t>
    </dgm:pt>
    <dgm:pt modelId="{83EB42C1-B798-48D9-9B39-49A893E02AD9}" type="parTrans" cxnId="{C5339853-13FC-4F4F-9251-C9276A638A54}">
      <dgm:prSet/>
      <dgm:spPr/>
      <dgm:t>
        <a:bodyPr/>
        <a:lstStyle/>
        <a:p>
          <a:endParaRPr lang="en-US"/>
        </a:p>
      </dgm:t>
    </dgm:pt>
    <dgm:pt modelId="{904A278E-F19D-47C5-91B3-BE734CF33B7B}" type="sibTrans" cxnId="{C5339853-13FC-4F4F-9251-C9276A638A54}">
      <dgm:prSet/>
      <dgm:spPr>
        <a:ln>
          <a:solidFill>
            <a:schemeClr val="accent6"/>
          </a:solidFill>
        </a:ln>
      </dgm:spPr>
      <dgm:t>
        <a:bodyPr/>
        <a:lstStyle/>
        <a:p>
          <a:endParaRPr lang="en-US"/>
        </a:p>
      </dgm:t>
    </dgm:pt>
    <dgm:pt modelId="{C463456C-4A1D-4E40-8510-6553A2E08EAC}">
      <dgm:prSet phldrT="[Text]"/>
      <dgm:spPr>
        <a:solidFill>
          <a:schemeClr val="accent6">
            <a:alpha val="24000"/>
          </a:schemeClr>
        </a:solidFill>
        <a:effectLst>
          <a:outerShdw blurRad="50800" dist="38100" dir="5400000" algn="t" rotWithShape="0">
            <a:prstClr val="black">
              <a:alpha val="40000"/>
            </a:prstClr>
          </a:outerShdw>
        </a:effectLst>
        <a:scene3d>
          <a:camera prst="perspectiveFront"/>
          <a:lightRig rig="threePt" dir="t"/>
        </a:scene3d>
      </dgm:spPr>
      <dgm:t>
        <a:bodyPr/>
        <a:lstStyle/>
        <a:p>
          <a:r>
            <a:rPr lang="en-US" dirty="0"/>
            <a:t>Substitutions in Financial Accounting</a:t>
          </a:r>
        </a:p>
      </dgm:t>
    </dgm:pt>
    <dgm:pt modelId="{0F67D353-D3A4-465A-8770-5E0AD74A2096}" type="parTrans" cxnId="{FDBA7897-28EB-4EC8-A8CE-4899C0707E02}">
      <dgm:prSet/>
      <dgm:spPr/>
      <dgm:t>
        <a:bodyPr/>
        <a:lstStyle/>
        <a:p>
          <a:endParaRPr lang="en-US"/>
        </a:p>
      </dgm:t>
    </dgm:pt>
    <dgm:pt modelId="{8735C32D-8903-4F05-9839-50B435A381BA}" type="sibTrans" cxnId="{FDBA7897-28EB-4EC8-A8CE-4899C0707E02}">
      <dgm:prSet/>
      <dgm:spPr>
        <a:ln>
          <a:solidFill>
            <a:schemeClr val="accent6"/>
          </a:solidFill>
        </a:ln>
      </dgm:spPr>
      <dgm:t>
        <a:bodyPr/>
        <a:lstStyle/>
        <a:p>
          <a:endParaRPr lang="en-US"/>
        </a:p>
      </dgm:t>
    </dgm:pt>
    <dgm:pt modelId="{26F0AFA3-CC61-4F59-B7B4-3EA7C4A98425}">
      <dgm:prSet phldrT="[Text]"/>
      <dgm:spPr>
        <a:solidFill>
          <a:schemeClr val="accent6"/>
        </a:solidFill>
        <a:effectLst>
          <a:outerShdw blurRad="50800" dist="38100" dir="5400000" algn="t" rotWithShape="0">
            <a:prstClr val="black">
              <a:alpha val="40000"/>
            </a:prstClr>
          </a:outerShdw>
        </a:effectLst>
        <a:scene3d>
          <a:camera prst="perspectiveFront"/>
          <a:lightRig rig="threePt" dir="t"/>
        </a:scene3d>
      </dgm:spPr>
      <dgm:t>
        <a:bodyPr/>
        <a:lstStyle/>
        <a:p>
          <a:r>
            <a:rPr lang="en-US" dirty="0"/>
            <a:t>Rules and Sets</a:t>
          </a:r>
        </a:p>
      </dgm:t>
    </dgm:pt>
    <dgm:pt modelId="{C30C10DA-A21E-4EE3-BCB8-764416DE961C}" type="parTrans" cxnId="{066F5157-37C0-47DA-86BE-637BB33003CF}">
      <dgm:prSet/>
      <dgm:spPr/>
      <dgm:t>
        <a:bodyPr/>
        <a:lstStyle/>
        <a:p>
          <a:endParaRPr lang="en-US"/>
        </a:p>
      </dgm:t>
    </dgm:pt>
    <dgm:pt modelId="{21B72554-51FC-4F7F-8CAA-0E8788EDBD44}" type="sibTrans" cxnId="{066F5157-37C0-47DA-86BE-637BB33003CF}">
      <dgm:prSet/>
      <dgm:spPr>
        <a:ln>
          <a:solidFill>
            <a:schemeClr val="accent6"/>
          </a:solidFill>
        </a:ln>
      </dgm:spPr>
      <dgm:t>
        <a:bodyPr/>
        <a:lstStyle/>
        <a:p>
          <a:endParaRPr lang="en-US"/>
        </a:p>
      </dgm:t>
    </dgm:pt>
    <dgm:pt modelId="{7DBC65CD-5B2C-42F2-96AE-8E65EEA901A5}" type="pres">
      <dgm:prSet presAssocID="{E3728C20-EB6D-4606-A9DD-C48473CE9A1D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3D411920-83B9-466E-93C4-84646E5CBD5C}" type="pres">
      <dgm:prSet presAssocID="{119B03FF-C253-46C1-964C-C5C3A1603D29}" presName="parentLin" presStyleCnt="0"/>
      <dgm:spPr/>
    </dgm:pt>
    <dgm:pt modelId="{CB8EBB56-8504-4F7A-BC5D-033D90FEAF3F}" type="pres">
      <dgm:prSet presAssocID="{119B03FF-C253-46C1-964C-C5C3A1603D29}" presName="parentLeftMargin" presStyleLbl="node1" presStyleIdx="0" presStyleCnt="4"/>
      <dgm:spPr/>
      <dgm:t>
        <a:bodyPr/>
        <a:lstStyle/>
        <a:p>
          <a:endParaRPr lang="en-US"/>
        </a:p>
      </dgm:t>
    </dgm:pt>
    <dgm:pt modelId="{9FF565D8-69D8-4A13-A441-9ED1A07415DC}" type="pres">
      <dgm:prSet presAssocID="{119B03FF-C253-46C1-964C-C5C3A1603D29}" presName="parentText" presStyleLbl="node1" presStyleIdx="0" presStyleCnt="4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23C9682-A650-42E2-8644-EA9414D4B23A}" type="pres">
      <dgm:prSet presAssocID="{119B03FF-C253-46C1-964C-C5C3A1603D29}" presName="negativeSpace" presStyleCnt="0"/>
      <dgm:spPr/>
    </dgm:pt>
    <dgm:pt modelId="{59923391-13B1-4A05-B0BD-54033F5EB283}" type="pres">
      <dgm:prSet presAssocID="{119B03FF-C253-46C1-964C-C5C3A1603D29}" presName="childText" presStyleLbl="conFgAcc1" presStyleIdx="0" presStyleCnt="4">
        <dgm:presLayoutVars>
          <dgm:bulletEnabled val="1"/>
        </dgm:presLayoutVars>
      </dgm:prSet>
      <dgm:spPr/>
    </dgm:pt>
    <dgm:pt modelId="{198E1732-DCF1-44AD-B512-6B0EEB30425A}" type="pres">
      <dgm:prSet presAssocID="{FDA5D11D-2859-4A7A-B331-964A0D299202}" presName="spaceBetweenRectangles" presStyleCnt="0"/>
      <dgm:spPr/>
    </dgm:pt>
    <dgm:pt modelId="{C8D4A645-FE78-4EAF-9CA3-0252F9794F9B}" type="pres">
      <dgm:prSet presAssocID="{5BD1D527-DE68-447D-859E-BEB85E3CD90C}" presName="parentLin" presStyleCnt="0"/>
      <dgm:spPr/>
    </dgm:pt>
    <dgm:pt modelId="{62C99DC8-ABD1-4BC1-96D5-DB8A95655A56}" type="pres">
      <dgm:prSet presAssocID="{5BD1D527-DE68-447D-859E-BEB85E3CD90C}" presName="parentLeftMargin" presStyleLbl="node1" presStyleIdx="0" presStyleCnt="4"/>
      <dgm:spPr/>
      <dgm:t>
        <a:bodyPr/>
        <a:lstStyle/>
        <a:p>
          <a:endParaRPr lang="en-US"/>
        </a:p>
      </dgm:t>
    </dgm:pt>
    <dgm:pt modelId="{4F1B875E-30C4-4296-AF0A-B2F0FF98E937}" type="pres">
      <dgm:prSet presAssocID="{5BD1D527-DE68-447D-859E-BEB85E3CD90C}" presName="parentText" presStyleLbl="node1" presStyleIdx="1" presStyleCnt="4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6BBF129-1C87-48B0-9C84-4586D01AD5ED}" type="pres">
      <dgm:prSet presAssocID="{5BD1D527-DE68-447D-859E-BEB85E3CD90C}" presName="negativeSpace" presStyleCnt="0"/>
      <dgm:spPr/>
    </dgm:pt>
    <dgm:pt modelId="{4447009D-8EA2-41AA-BBF3-3154EA9B2F24}" type="pres">
      <dgm:prSet presAssocID="{5BD1D527-DE68-447D-859E-BEB85E3CD90C}" presName="childText" presStyleLbl="conFgAcc1" presStyleIdx="1" presStyleCnt="4">
        <dgm:presLayoutVars>
          <dgm:bulletEnabled val="1"/>
        </dgm:presLayoutVars>
      </dgm:prSet>
      <dgm:spPr/>
    </dgm:pt>
    <dgm:pt modelId="{5F0C58E9-F97A-442E-B4B6-09E33D55B343}" type="pres">
      <dgm:prSet presAssocID="{904A278E-F19D-47C5-91B3-BE734CF33B7B}" presName="spaceBetweenRectangles" presStyleCnt="0"/>
      <dgm:spPr/>
    </dgm:pt>
    <dgm:pt modelId="{016FCE31-B27D-40E9-8C7F-46E5079028BF}" type="pres">
      <dgm:prSet presAssocID="{C463456C-4A1D-4E40-8510-6553A2E08EAC}" presName="parentLin" presStyleCnt="0"/>
      <dgm:spPr/>
    </dgm:pt>
    <dgm:pt modelId="{C8BD45C4-0036-46CC-B694-7420A32F454C}" type="pres">
      <dgm:prSet presAssocID="{C463456C-4A1D-4E40-8510-6553A2E08EAC}" presName="parentLeftMargin" presStyleLbl="node1" presStyleIdx="1" presStyleCnt="4"/>
      <dgm:spPr/>
      <dgm:t>
        <a:bodyPr/>
        <a:lstStyle/>
        <a:p>
          <a:endParaRPr lang="en-US"/>
        </a:p>
      </dgm:t>
    </dgm:pt>
    <dgm:pt modelId="{308892F6-9082-488F-A32B-06D8AF648161}" type="pres">
      <dgm:prSet presAssocID="{C463456C-4A1D-4E40-8510-6553A2E08EAC}" presName="parentText" presStyleLbl="node1" presStyleIdx="2" presStyleCnt="4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6FA02C5B-74D9-43CB-B027-653ED7B3BFFC}" type="pres">
      <dgm:prSet presAssocID="{C463456C-4A1D-4E40-8510-6553A2E08EAC}" presName="negativeSpace" presStyleCnt="0"/>
      <dgm:spPr/>
    </dgm:pt>
    <dgm:pt modelId="{0B15E5D7-78A0-46A8-B805-14B307C3929F}" type="pres">
      <dgm:prSet presAssocID="{C463456C-4A1D-4E40-8510-6553A2E08EAC}" presName="childText" presStyleLbl="conFgAcc1" presStyleIdx="2" presStyleCnt="4">
        <dgm:presLayoutVars>
          <dgm:bulletEnabled val="1"/>
        </dgm:presLayoutVars>
      </dgm:prSet>
      <dgm:spPr/>
    </dgm:pt>
    <dgm:pt modelId="{0C36EB90-198D-4D45-9CDD-1990081AD103}" type="pres">
      <dgm:prSet presAssocID="{8735C32D-8903-4F05-9839-50B435A381BA}" presName="spaceBetweenRectangles" presStyleCnt="0"/>
      <dgm:spPr/>
    </dgm:pt>
    <dgm:pt modelId="{21427D55-DFAE-4CA3-9A53-5F1EC9C88931}" type="pres">
      <dgm:prSet presAssocID="{26F0AFA3-CC61-4F59-B7B4-3EA7C4A98425}" presName="parentLin" presStyleCnt="0"/>
      <dgm:spPr/>
    </dgm:pt>
    <dgm:pt modelId="{9F8A8389-3FE2-4D96-AA3D-FB5EB20EC7BC}" type="pres">
      <dgm:prSet presAssocID="{26F0AFA3-CC61-4F59-B7B4-3EA7C4A98425}" presName="parentLeftMargin" presStyleLbl="node1" presStyleIdx="2" presStyleCnt="4"/>
      <dgm:spPr/>
      <dgm:t>
        <a:bodyPr/>
        <a:lstStyle/>
        <a:p>
          <a:endParaRPr lang="en-US"/>
        </a:p>
      </dgm:t>
    </dgm:pt>
    <dgm:pt modelId="{7A734AB2-47DC-430A-AF94-79125E632AC1}" type="pres">
      <dgm:prSet presAssocID="{26F0AFA3-CC61-4F59-B7B4-3EA7C4A98425}" presName="parentText" presStyleLbl="node1" presStyleIdx="3" presStyleCnt="4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190742E0-A43C-4E73-80CC-7213116E8627}" type="pres">
      <dgm:prSet presAssocID="{26F0AFA3-CC61-4F59-B7B4-3EA7C4A98425}" presName="negativeSpace" presStyleCnt="0"/>
      <dgm:spPr/>
    </dgm:pt>
    <dgm:pt modelId="{E4831231-EA6F-485D-A4BA-3A5CF0E78F22}" type="pres">
      <dgm:prSet presAssocID="{26F0AFA3-CC61-4F59-B7B4-3EA7C4A98425}" presName="childText" presStyleLbl="conFgAcc1" presStyleIdx="3" presStyleCnt="4">
        <dgm:presLayoutVars>
          <dgm:bulletEnabled val="1"/>
        </dgm:presLayoutVars>
      </dgm:prSet>
      <dgm:spPr/>
    </dgm:pt>
  </dgm:ptLst>
  <dgm:cxnLst>
    <dgm:cxn modelId="{7E6C7297-FBEF-4A15-B304-3F5B94538C0C}" type="presOf" srcId="{119B03FF-C253-46C1-964C-C5C3A1603D29}" destId="{9FF565D8-69D8-4A13-A441-9ED1A07415DC}" srcOrd="1" destOrd="0" presId="urn:microsoft.com/office/officeart/2005/8/layout/list1"/>
    <dgm:cxn modelId="{A7A774B8-192B-4903-9550-72BF879F7EB2}" type="presOf" srcId="{5BD1D527-DE68-447D-859E-BEB85E3CD90C}" destId="{4F1B875E-30C4-4296-AF0A-B2F0FF98E937}" srcOrd="1" destOrd="0" presId="urn:microsoft.com/office/officeart/2005/8/layout/list1"/>
    <dgm:cxn modelId="{54C7DEA5-24A0-433A-AB6B-12FA492869ED}" srcId="{E3728C20-EB6D-4606-A9DD-C48473CE9A1D}" destId="{119B03FF-C253-46C1-964C-C5C3A1603D29}" srcOrd="0" destOrd="0" parTransId="{0258A417-15A8-4BDA-B483-9B298AE8E662}" sibTransId="{FDA5D11D-2859-4A7A-B331-964A0D299202}"/>
    <dgm:cxn modelId="{FDBA7897-28EB-4EC8-A8CE-4899C0707E02}" srcId="{E3728C20-EB6D-4606-A9DD-C48473CE9A1D}" destId="{C463456C-4A1D-4E40-8510-6553A2E08EAC}" srcOrd="2" destOrd="0" parTransId="{0F67D353-D3A4-465A-8770-5E0AD74A2096}" sibTransId="{8735C32D-8903-4F05-9839-50B435A381BA}"/>
    <dgm:cxn modelId="{97945D1F-2E8E-46B5-8466-8EB5E18A0991}" type="presOf" srcId="{C463456C-4A1D-4E40-8510-6553A2E08EAC}" destId="{308892F6-9082-488F-A32B-06D8AF648161}" srcOrd="1" destOrd="0" presId="urn:microsoft.com/office/officeart/2005/8/layout/list1"/>
    <dgm:cxn modelId="{A0A4BF36-564D-4A70-A3CE-F8D9DC15F791}" type="presOf" srcId="{26F0AFA3-CC61-4F59-B7B4-3EA7C4A98425}" destId="{7A734AB2-47DC-430A-AF94-79125E632AC1}" srcOrd="1" destOrd="0" presId="urn:microsoft.com/office/officeart/2005/8/layout/list1"/>
    <dgm:cxn modelId="{C9E4AA61-A797-462C-82FC-B4A606C5EE17}" type="presOf" srcId="{26F0AFA3-CC61-4F59-B7B4-3EA7C4A98425}" destId="{9F8A8389-3FE2-4D96-AA3D-FB5EB20EC7BC}" srcOrd="0" destOrd="0" presId="urn:microsoft.com/office/officeart/2005/8/layout/list1"/>
    <dgm:cxn modelId="{C5339853-13FC-4F4F-9251-C9276A638A54}" srcId="{E3728C20-EB6D-4606-A9DD-C48473CE9A1D}" destId="{5BD1D527-DE68-447D-859E-BEB85E3CD90C}" srcOrd="1" destOrd="0" parTransId="{83EB42C1-B798-48D9-9B39-49A893E02AD9}" sibTransId="{904A278E-F19D-47C5-91B3-BE734CF33B7B}"/>
    <dgm:cxn modelId="{F1ED3704-CDBA-428D-813E-F510DF6BE779}" type="presOf" srcId="{C463456C-4A1D-4E40-8510-6553A2E08EAC}" destId="{C8BD45C4-0036-46CC-B694-7420A32F454C}" srcOrd="0" destOrd="0" presId="urn:microsoft.com/office/officeart/2005/8/layout/list1"/>
    <dgm:cxn modelId="{E84F6A94-2257-46EE-A083-D41F150F28B9}" type="presOf" srcId="{119B03FF-C253-46C1-964C-C5C3A1603D29}" destId="{CB8EBB56-8504-4F7A-BC5D-033D90FEAF3F}" srcOrd="0" destOrd="0" presId="urn:microsoft.com/office/officeart/2005/8/layout/list1"/>
    <dgm:cxn modelId="{755954C0-1EDD-4375-9A58-62818BE74F02}" type="presOf" srcId="{E3728C20-EB6D-4606-A9DD-C48473CE9A1D}" destId="{7DBC65CD-5B2C-42F2-96AE-8E65EEA901A5}" srcOrd="0" destOrd="0" presId="urn:microsoft.com/office/officeart/2005/8/layout/list1"/>
    <dgm:cxn modelId="{1CC370F9-DEA3-40E9-B958-EFC4FAECEC6F}" type="presOf" srcId="{5BD1D527-DE68-447D-859E-BEB85E3CD90C}" destId="{62C99DC8-ABD1-4BC1-96D5-DB8A95655A56}" srcOrd="0" destOrd="0" presId="urn:microsoft.com/office/officeart/2005/8/layout/list1"/>
    <dgm:cxn modelId="{066F5157-37C0-47DA-86BE-637BB33003CF}" srcId="{E3728C20-EB6D-4606-A9DD-C48473CE9A1D}" destId="{26F0AFA3-CC61-4F59-B7B4-3EA7C4A98425}" srcOrd="3" destOrd="0" parTransId="{C30C10DA-A21E-4EE3-BCB8-764416DE961C}" sibTransId="{21B72554-51FC-4F7F-8CAA-0E8788EDBD44}"/>
    <dgm:cxn modelId="{189A5F81-1C4D-4CA5-89FC-195AFA130E9F}" type="presParOf" srcId="{7DBC65CD-5B2C-42F2-96AE-8E65EEA901A5}" destId="{3D411920-83B9-466E-93C4-84646E5CBD5C}" srcOrd="0" destOrd="0" presId="urn:microsoft.com/office/officeart/2005/8/layout/list1"/>
    <dgm:cxn modelId="{96165895-EBFA-4A55-810D-D1BDB0976309}" type="presParOf" srcId="{3D411920-83B9-466E-93C4-84646E5CBD5C}" destId="{CB8EBB56-8504-4F7A-BC5D-033D90FEAF3F}" srcOrd="0" destOrd="0" presId="urn:microsoft.com/office/officeart/2005/8/layout/list1"/>
    <dgm:cxn modelId="{FC483DDD-86D2-4AE2-B89D-41CF42324572}" type="presParOf" srcId="{3D411920-83B9-466E-93C4-84646E5CBD5C}" destId="{9FF565D8-69D8-4A13-A441-9ED1A07415DC}" srcOrd="1" destOrd="0" presId="urn:microsoft.com/office/officeart/2005/8/layout/list1"/>
    <dgm:cxn modelId="{8E52EA85-8AA5-4E5D-9795-ACA82CF3CD8E}" type="presParOf" srcId="{7DBC65CD-5B2C-42F2-96AE-8E65EEA901A5}" destId="{823C9682-A650-42E2-8644-EA9414D4B23A}" srcOrd="1" destOrd="0" presId="urn:microsoft.com/office/officeart/2005/8/layout/list1"/>
    <dgm:cxn modelId="{1E0D2267-8349-41B9-B3C9-9F01B7837BD0}" type="presParOf" srcId="{7DBC65CD-5B2C-42F2-96AE-8E65EEA901A5}" destId="{59923391-13B1-4A05-B0BD-54033F5EB283}" srcOrd="2" destOrd="0" presId="urn:microsoft.com/office/officeart/2005/8/layout/list1"/>
    <dgm:cxn modelId="{E627A2E9-AB2A-407E-B878-BA8CF9F6E770}" type="presParOf" srcId="{7DBC65CD-5B2C-42F2-96AE-8E65EEA901A5}" destId="{198E1732-DCF1-44AD-B512-6B0EEB30425A}" srcOrd="3" destOrd="0" presId="urn:microsoft.com/office/officeart/2005/8/layout/list1"/>
    <dgm:cxn modelId="{1CA61316-3E50-4EE6-9965-99024E0D7E9B}" type="presParOf" srcId="{7DBC65CD-5B2C-42F2-96AE-8E65EEA901A5}" destId="{C8D4A645-FE78-4EAF-9CA3-0252F9794F9B}" srcOrd="4" destOrd="0" presId="urn:microsoft.com/office/officeart/2005/8/layout/list1"/>
    <dgm:cxn modelId="{12762EFC-6DCF-48AA-A685-ECDEE02BC5CD}" type="presParOf" srcId="{C8D4A645-FE78-4EAF-9CA3-0252F9794F9B}" destId="{62C99DC8-ABD1-4BC1-96D5-DB8A95655A56}" srcOrd="0" destOrd="0" presId="urn:microsoft.com/office/officeart/2005/8/layout/list1"/>
    <dgm:cxn modelId="{3F1CFA6F-D846-4B54-9334-3AC4417FEE67}" type="presParOf" srcId="{C8D4A645-FE78-4EAF-9CA3-0252F9794F9B}" destId="{4F1B875E-30C4-4296-AF0A-B2F0FF98E937}" srcOrd="1" destOrd="0" presId="urn:microsoft.com/office/officeart/2005/8/layout/list1"/>
    <dgm:cxn modelId="{FC2BB847-3B65-4E7D-9A9B-50A303661BB4}" type="presParOf" srcId="{7DBC65CD-5B2C-42F2-96AE-8E65EEA901A5}" destId="{A6BBF129-1C87-48B0-9C84-4586D01AD5ED}" srcOrd="5" destOrd="0" presId="urn:microsoft.com/office/officeart/2005/8/layout/list1"/>
    <dgm:cxn modelId="{653F4A8B-A210-447C-80A2-23E8A4E0E792}" type="presParOf" srcId="{7DBC65CD-5B2C-42F2-96AE-8E65EEA901A5}" destId="{4447009D-8EA2-41AA-BBF3-3154EA9B2F24}" srcOrd="6" destOrd="0" presId="urn:microsoft.com/office/officeart/2005/8/layout/list1"/>
    <dgm:cxn modelId="{4852C4BD-0B8C-4816-845F-ACF8ABA76AEB}" type="presParOf" srcId="{7DBC65CD-5B2C-42F2-96AE-8E65EEA901A5}" destId="{5F0C58E9-F97A-442E-B4B6-09E33D55B343}" srcOrd="7" destOrd="0" presId="urn:microsoft.com/office/officeart/2005/8/layout/list1"/>
    <dgm:cxn modelId="{59B418F0-123B-4229-A0F3-009DCBA73D2C}" type="presParOf" srcId="{7DBC65CD-5B2C-42F2-96AE-8E65EEA901A5}" destId="{016FCE31-B27D-40E9-8C7F-46E5079028BF}" srcOrd="8" destOrd="0" presId="urn:microsoft.com/office/officeart/2005/8/layout/list1"/>
    <dgm:cxn modelId="{959C1BEB-37B4-4A8A-8E23-B7249CB298C1}" type="presParOf" srcId="{016FCE31-B27D-40E9-8C7F-46E5079028BF}" destId="{C8BD45C4-0036-46CC-B694-7420A32F454C}" srcOrd="0" destOrd="0" presId="urn:microsoft.com/office/officeart/2005/8/layout/list1"/>
    <dgm:cxn modelId="{0D46660C-FEFE-482B-917F-A964C6CFC471}" type="presParOf" srcId="{016FCE31-B27D-40E9-8C7F-46E5079028BF}" destId="{308892F6-9082-488F-A32B-06D8AF648161}" srcOrd="1" destOrd="0" presId="urn:microsoft.com/office/officeart/2005/8/layout/list1"/>
    <dgm:cxn modelId="{420F702F-B1BD-4A1E-B63C-7E69D7DF4733}" type="presParOf" srcId="{7DBC65CD-5B2C-42F2-96AE-8E65EEA901A5}" destId="{6FA02C5B-74D9-43CB-B027-653ED7B3BFFC}" srcOrd="9" destOrd="0" presId="urn:microsoft.com/office/officeart/2005/8/layout/list1"/>
    <dgm:cxn modelId="{1DA947FD-342A-4F1B-A460-CDDC9AF29A36}" type="presParOf" srcId="{7DBC65CD-5B2C-42F2-96AE-8E65EEA901A5}" destId="{0B15E5D7-78A0-46A8-B805-14B307C3929F}" srcOrd="10" destOrd="0" presId="urn:microsoft.com/office/officeart/2005/8/layout/list1"/>
    <dgm:cxn modelId="{E4C5B9CF-2998-488B-B65C-CFB9028026ED}" type="presParOf" srcId="{7DBC65CD-5B2C-42F2-96AE-8E65EEA901A5}" destId="{0C36EB90-198D-4D45-9CDD-1990081AD103}" srcOrd="11" destOrd="0" presId="urn:microsoft.com/office/officeart/2005/8/layout/list1"/>
    <dgm:cxn modelId="{F8D6666A-3738-4B04-AEA7-CD86C053634B}" type="presParOf" srcId="{7DBC65CD-5B2C-42F2-96AE-8E65EEA901A5}" destId="{21427D55-DFAE-4CA3-9A53-5F1EC9C88931}" srcOrd="12" destOrd="0" presId="urn:microsoft.com/office/officeart/2005/8/layout/list1"/>
    <dgm:cxn modelId="{AA70F9DA-2889-460D-AE87-D53B60074648}" type="presParOf" srcId="{21427D55-DFAE-4CA3-9A53-5F1EC9C88931}" destId="{9F8A8389-3FE2-4D96-AA3D-FB5EB20EC7BC}" srcOrd="0" destOrd="0" presId="urn:microsoft.com/office/officeart/2005/8/layout/list1"/>
    <dgm:cxn modelId="{B8405E05-BFF8-4B74-BB3C-30EBB4DAED36}" type="presParOf" srcId="{21427D55-DFAE-4CA3-9A53-5F1EC9C88931}" destId="{7A734AB2-47DC-430A-AF94-79125E632AC1}" srcOrd="1" destOrd="0" presId="urn:microsoft.com/office/officeart/2005/8/layout/list1"/>
    <dgm:cxn modelId="{A2F6B200-F5D6-47EB-96E1-F0E593CC47FC}" type="presParOf" srcId="{7DBC65CD-5B2C-42F2-96AE-8E65EEA901A5}" destId="{190742E0-A43C-4E73-80CC-7213116E8627}" srcOrd="13" destOrd="0" presId="urn:microsoft.com/office/officeart/2005/8/layout/list1"/>
    <dgm:cxn modelId="{F6C425D8-0419-4953-B409-4610FC26E6AA}" type="presParOf" srcId="{7DBC65CD-5B2C-42F2-96AE-8E65EEA901A5}" destId="{E4831231-EA6F-485D-A4BA-3A5CF0E78F22}" srcOrd="14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D3060F09-F41F-4855-85D1-58FC2EEE9AF6}" type="doc">
      <dgm:prSet loTypeId="urn:microsoft.com/office/officeart/2005/8/layout/hList1" loCatId="list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en-US"/>
        </a:p>
      </dgm:t>
    </dgm:pt>
    <dgm:pt modelId="{B629C639-57A4-4829-822B-11C3844DDA0D}">
      <dgm:prSet phldrT="[Text]" custT="1"/>
      <dgm:spPr/>
      <dgm:t>
        <a:bodyPr/>
        <a:lstStyle/>
        <a:p>
          <a:r>
            <a:rPr lang="en-US" sz="1800" dirty="0"/>
            <a:t>USER GROUP</a:t>
          </a:r>
        </a:p>
      </dgm:t>
    </dgm:pt>
    <dgm:pt modelId="{F71D42C1-2A1A-4908-BC49-CEA9D12D5514}" type="parTrans" cxnId="{02B0D8BF-95BB-4F3A-AFDC-150C51F77BDE}">
      <dgm:prSet/>
      <dgm:spPr/>
      <dgm:t>
        <a:bodyPr/>
        <a:lstStyle/>
        <a:p>
          <a:endParaRPr lang="en-US"/>
        </a:p>
      </dgm:t>
    </dgm:pt>
    <dgm:pt modelId="{9D9C5E14-FBF3-44AE-956A-445AFE82D5F8}" type="sibTrans" cxnId="{02B0D8BF-95BB-4F3A-AFDC-150C51F77BDE}">
      <dgm:prSet/>
      <dgm:spPr/>
      <dgm:t>
        <a:bodyPr/>
        <a:lstStyle/>
        <a:p>
          <a:endParaRPr lang="en-US"/>
        </a:p>
      </dgm:t>
    </dgm:pt>
    <dgm:pt modelId="{0C843227-4662-4AD9-8E92-688319F13814}">
      <dgm:prSet phldrT="[Text]" custT="1"/>
      <dgm:spPr/>
      <dgm:t>
        <a:bodyPr/>
        <a:lstStyle/>
        <a:p>
          <a:r>
            <a:rPr lang="en-US" sz="1800" dirty="0"/>
            <a:t>ACCOUNT MANAGEMENT</a:t>
          </a:r>
        </a:p>
      </dgm:t>
    </dgm:pt>
    <dgm:pt modelId="{A377BC28-EE9F-47D4-9D1E-A2EE3F87F504}" type="parTrans" cxnId="{28C04B0C-438D-4B58-9F11-F1BFF8FC8224}">
      <dgm:prSet/>
      <dgm:spPr/>
      <dgm:t>
        <a:bodyPr/>
        <a:lstStyle/>
        <a:p>
          <a:endParaRPr lang="en-US"/>
        </a:p>
      </dgm:t>
    </dgm:pt>
    <dgm:pt modelId="{C9F03484-470F-4B85-AB39-16738AB6F4C0}" type="sibTrans" cxnId="{28C04B0C-438D-4B58-9F11-F1BFF8FC8224}">
      <dgm:prSet/>
      <dgm:spPr/>
      <dgm:t>
        <a:bodyPr/>
        <a:lstStyle/>
        <a:p>
          <a:endParaRPr lang="en-US"/>
        </a:p>
      </dgm:t>
    </dgm:pt>
    <dgm:pt modelId="{85C45D9C-11F8-43F4-ADDC-A0AF7A82732D}">
      <dgm:prSet phldrT="[Text]" custT="1"/>
      <dgm:spPr/>
      <dgm:t>
        <a:bodyPr/>
        <a:lstStyle/>
        <a:p>
          <a:r>
            <a:rPr lang="en-US" sz="1600" dirty="0"/>
            <a:t>001 – 43000</a:t>
          </a:r>
        </a:p>
      </dgm:t>
    </dgm:pt>
    <dgm:pt modelId="{781C4A2A-F24E-40FF-B549-F5DB6E03B1E3}" type="parTrans" cxnId="{D288B202-DA54-4109-9AC2-CD0A92F6C57F}">
      <dgm:prSet/>
      <dgm:spPr/>
      <dgm:t>
        <a:bodyPr/>
        <a:lstStyle/>
        <a:p>
          <a:endParaRPr lang="en-US"/>
        </a:p>
      </dgm:t>
    </dgm:pt>
    <dgm:pt modelId="{0A05D4C4-9D63-436E-96B5-55A5D0EC2538}" type="sibTrans" cxnId="{D288B202-DA54-4109-9AC2-CD0A92F6C57F}">
      <dgm:prSet/>
      <dgm:spPr/>
      <dgm:t>
        <a:bodyPr/>
        <a:lstStyle/>
        <a:p>
          <a:endParaRPr lang="en-US"/>
        </a:p>
      </dgm:t>
    </dgm:pt>
    <dgm:pt modelId="{E6898182-A778-45E3-9BD5-118231AC5B63}">
      <dgm:prSet phldrT="[Text]" custT="1"/>
      <dgm:spPr/>
      <dgm:t>
        <a:bodyPr/>
        <a:lstStyle/>
        <a:p>
          <a:r>
            <a:rPr lang="en-US" sz="1600" dirty="0"/>
            <a:t>001 – RAVI</a:t>
          </a:r>
        </a:p>
      </dgm:t>
    </dgm:pt>
    <dgm:pt modelId="{8D7B9359-604B-4CBA-9714-379D3550A340}" type="parTrans" cxnId="{376FE9B0-9847-4B2D-9C01-C3C54B8C4D7B}">
      <dgm:prSet/>
      <dgm:spPr/>
      <dgm:t>
        <a:bodyPr/>
        <a:lstStyle/>
        <a:p>
          <a:endParaRPr lang="en-US"/>
        </a:p>
      </dgm:t>
    </dgm:pt>
    <dgm:pt modelId="{3B37E060-DFBF-4FC8-8089-C58EDF47F1E3}" type="sibTrans" cxnId="{376FE9B0-9847-4B2D-9C01-C3C54B8C4D7B}">
      <dgm:prSet/>
      <dgm:spPr/>
      <dgm:t>
        <a:bodyPr/>
        <a:lstStyle/>
        <a:p>
          <a:endParaRPr lang="en-US"/>
        </a:p>
      </dgm:t>
    </dgm:pt>
    <dgm:pt modelId="{70E18E83-2061-4FA7-ADFF-43EF33CB7F4C}">
      <dgm:prSet phldrT="[Text]" custT="1"/>
      <dgm:spPr/>
      <dgm:t>
        <a:bodyPr/>
        <a:lstStyle/>
        <a:p>
          <a:r>
            <a:rPr lang="en-US" sz="1600" dirty="0"/>
            <a:t>002 – HARI</a:t>
          </a:r>
        </a:p>
      </dgm:t>
    </dgm:pt>
    <dgm:pt modelId="{F92B5E87-90BA-4A90-A5F3-01C793B4F6FC}" type="parTrans" cxnId="{9DAFFB71-D2B9-44F3-9DEA-66FCFB778600}">
      <dgm:prSet/>
      <dgm:spPr/>
      <dgm:t>
        <a:bodyPr/>
        <a:lstStyle/>
        <a:p>
          <a:endParaRPr lang="en-US"/>
        </a:p>
      </dgm:t>
    </dgm:pt>
    <dgm:pt modelId="{EFD71FFD-FEFA-4C1C-B325-81F90899F4E1}" type="sibTrans" cxnId="{9DAFFB71-D2B9-44F3-9DEA-66FCFB778600}">
      <dgm:prSet/>
      <dgm:spPr/>
      <dgm:t>
        <a:bodyPr/>
        <a:lstStyle/>
        <a:p>
          <a:endParaRPr lang="en-US"/>
        </a:p>
      </dgm:t>
    </dgm:pt>
    <dgm:pt modelId="{0A0B60FC-3A80-4FCE-9D81-56A84178E71D}">
      <dgm:prSet phldrT="[Text]" custT="1"/>
      <dgm:spPr/>
      <dgm:t>
        <a:bodyPr/>
        <a:lstStyle/>
        <a:p>
          <a:r>
            <a:rPr lang="en-US" sz="1600" dirty="0"/>
            <a:t>003 – GIRI</a:t>
          </a:r>
        </a:p>
      </dgm:t>
    </dgm:pt>
    <dgm:pt modelId="{E0C69C00-3A62-4814-B494-39AA42DD0F73}" type="parTrans" cxnId="{CD6B8D0C-7E12-4E8A-92EE-5EB50FDA44EE}">
      <dgm:prSet/>
      <dgm:spPr/>
      <dgm:t>
        <a:bodyPr/>
        <a:lstStyle/>
        <a:p>
          <a:endParaRPr lang="en-US"/>
        </a:p>
      </dgm:t>
    </dgm:pt>
    <dgm:pt modelId="{34580874-061F-4E63-A573-5991A2B82850}" type="sibTrans" cxnId="{CD6B8D0C-7E12-4E8A-92EE-5EB50FDA44EE}">
      <dgm:prSet/>
      <dgm:spPr/>
      <dgm:t>
        <a:bodyPr/>
        <a:lstStyle/>
        <a:p>
          <a:endParaRPr lang="en-US"/>
        </a:p>
      </dgm:t>
    </dgm:pt>
    <dgm:pt modelId="{3FF11BFD-CD53-465D-8931-29E43283239E}">
      <dgm:prSet phldrT="[Text]" custT="1"/>
      <dgm:spPr/>
      <dgm:t>
        <a:bodyPr/>
        <a:lstStyle/>
        <a:p>
          <a:r>
            <a:rPr lang="en-US" sz="1600" dirty="0"/>
            <a:t>004 - SURI</a:t>
          </a:r>
        </a:p>
      </dgm:t>
    </dgm:pt>
    <dgm:pt modelId="{00263B9D-0ABC-4542-8841-F61E378FE985}" type="parTrans" cxnId="{B35FF40A-2880-45D2-A1AD-04A107531107}">
      <dgm:prSet/>
      <dgm:spPr/>
      <dgm:t>
        <a:bodyPr/>
        <a:lstStyle/>
        <a:p>
          <a:endParaRPr lang="en-US"/>
        </a:p>
      </dgm:t>
    </dgm:pt>
    <dgm:pt modelId="{217C3BE4-1803-4346-BBE2-F0C33A002A0B}" type="sibTrans" cxnId="{B35FF40A-2880-45D2-A1AD-04A107531107}">
      <dgm:prSet/>
      <dgm:spPr/>
      <dgm:t>
        <a:bodyPr/>
        <a:lstStyle/>
        <a:p>
          <a:endParaRPr lang="en-US"/>
        </a:p>
      </dgm:t>
    </dgm:pt>
    <dgm:pt modelId="{21C9963C-5ECF-460C-B707-2E60C21ED370}">
      <dgm:prSet phldrT="[Text]" custT="1"/>
      <dgm:spPr/>
      <dgm:t>
        <a:bodyPr/>
        <a:lstStyle/>
        <a:p>
          <a:r>
            <a:rPr lang="en-US" sz="1600" dirty="0"/>
            <a:t>002 – 43200</a:t>
          </a:r>
        </a:p>
      </dgm:t>
    </dgm:pt>
    <dgm:pt modelId="{738A2649-9BA6-4FBC-80C0-19D58D399043}" type="parTrans" cxnId="{9333D409-3F9B-4305-96C0-18C7D40327E1}">
      <dgm:prSet/>
      <dgm:spPr/>
      <dgm:t>
        <a:bodyPr/>
        <a:lstStyle/>
        <a:p>
          <a:endParaRPr lang="en-US"/>
        </a:p>
      </dgm:t>
    </dgm:pt>
    <dgm:pt modelId="{811647EA-4D1B-43A2-91E6-05A0EBC30C3A}" type="sibTrans" cxnId="{9333D409-3F9B-4305-96C0-18C7D40327E1}">
      <dgm:prSet/>
      <dgm:spPr/>
      <dgm:t>
        <a:bodyPr/>
        <a:lstStyle/>
        <a:p>
          <a:endParaRPr lang="en-US"/>
        </a:p>
      </dgm:t>
    </dgm:pt>
    <dgm:pt modelId="{C9B6EC31-8C7A-49F5-9845-2C7EACEAAC88}">
      <dgm:prSet phldrT="[Text]" custT="1"/>
      <dgm:spPr/>
      <dgm:t>
        <a:bodyPr/>
        <a:lstStyle/>
        <a:p>
          <a:r>
            <a:rPr lang="en-US" sz="1600" dirty="0"/>
            <a:t>003 – 43300</a:t>
          </a:r>
        </a:p>
      </dgm:t>
    </dgm:pt>
    <dgm:pt modelId="{A674F796-D6A1-4CA9-9B2A-BF3A55574856}" type="parTrans" cxnId="{29254651-590E-43F8-B6C4-B82E3A552840}">
      <dgm:prSet/>
      <dgm:spPr/>
      <dgm:t>
        <a:bodyPr/>
        <a:lstStyle/>
        <a:p>
          <a:endParaRPr lang="en-US"/>
        </a:p>
      </dgm:t>
    </dgm:pt>
    <dgm:pt modelId="{24A7A401-5CAE-4CBD-BBDE-B9B6BDC0F548}" type="sibTrans" cxnId="{29254651-590E-43F8-B6C4-B82E3A552840}">
      <dgm:prSet/>
      <dgm:spPr/>
      <dgm:t>
        <a:bodyPr/>
        <a:lstStyle/>
        <a:p>
          <a:endParaRPr lang="en-US"/>
        </a:p>
      </dgm:t>
    </dgm:pt>
    <dgm:pt modelId="{8962BA05-878B-4728-B2C6-22C880C4AF7C}">
      <dgm:prSet phldrT="[Text]" custT="1"/>
      <dgm:spPr/>
      <dgm:t>
        <a:bodyPr/>
        <a:lstStyle/>
        <a:p>
          <a:r>
            <a:rPr lang="en-US" sz="1600" dirty="0"/>
            <a:t>004 - 43400</a:t>
          </a:r>
        </a:p>
      </dgm:t>
    </dgm:pt>
    <dgm:pt modelId="{688CF9CA-516C-46FB-830B-C8C611405762}" type="parTrans" cxnId="{2A0EB8DF-28F7-4500-8C33-89D75A22AAF4}">
      <dgm:prSet/>
      <dgm:spPr/>
      <dgm:t>
        <a:bodyPr/>
        <a:lstStyle/>
        <a:p>
          <a:endParaRPr lang="en-US"/>
        </a:p>
      </dgm:t>
    </dgm:pt>
    <dgm:pt modelId="{2B4FF89F-10C5-4CE4-81A3-F4DAA6A875C6}" type="sibTrans" cxnId="{2A0EB8DF-28F7-4500-8C33-89D75A22AAF4}">
      <dgm:prSet/>
      <dgm:spPr/>
      <dgm:t>
        <a:bodyPr/>
        <a:lstStyle/>
        <a:p>
          <a:endParaRPr lang="en-US"/>
        </a:p>
      </dgm:t>
    </dgm:pt>
    <dgm:pt modelId="{ED5EB73F-1BE1-4F96-8514-5595D9F9EDB5}" type="pres">
      <dgm:prSet presAssocID="{D3060F09-F41F-4855-85D1-58FC2EEE9AF6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E5BB7AB6-AB1B-40D8-83A3-720E8CD94358}" type="pres">
      <dgm:prSet presAssocID="{B629C639-57A4-4829-822B-11C3844DDA0D}" presName="composite" presStyleCnt="0"/>
      <dgm:spPr/>
    </dgm:pt>
    <dgm:pt modelId="{5F53CB04-4BA6-45BA-AB34-5182AB6C8324}" type="pres">
      <dgm:prSet presAssocID="{B629C639-57A4-4829-822B-11C3844DDA0D}" presName="parTx" presStyleLbl="alignNode1" presStyleIdx="0" presStyleCnt="2" custScaleX="100456" custScaleY="8635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720DDC29-0E86-4920-9290-611148E9C721}" type="pres">
      <dgm:prSet presAssocID="{B629C639-57A4-4829-822B-11C3844DDA0D}" presName="desTx" presStyleLbl="alignAccFollowNode1" presStyleIdx="0" presStyleCnt="2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F53E30D-3572-4D0F-B443-500ABCED9C05}" type="pres">
      <dgm:prSet presAssocID="{9D9C5E14-FBF3-44AE-956A-445AFE82D5F8}" presName="space" presStyleCnt="0"/>
      <dgm:spPr/>
    </dgm:pt>
    <dgm:pt modelId="{7808D73C-95B6-45BF-9E5B-F432801DE382}" type="pres">
      <dgm:prSet presAssocID="{0C843227-4662-4AD9-8E92-688319F13814}" presName="composite" presStyleCnt="0"/>
      <dgm:spPr/>
    </dgm:pt>
    <dgm:pt modelId="{164C01CA-CF9F-4E97-85B4-785FECA7EE30}" type="pres">
      <dgm:prSet presAssocID="{0C843227-4662-4AD9-8E92-688319F13814}" presName="parTx" presStyleLbl="alignNode1" presStyleIdx="1" presStyleCnt="2" custScaleX="100456" custScaleY="8635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465D861-75DE-4010-B043-C4C74D22270E}" type="pres">
      <dgm:prSet presAssocID="{0C843227-4662-4AD9-8E92-688319F13814}" presName="desTx" presStyleLbl="alignAccFollowNode1" presStyleIdx="1" presStyleCnt="2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4951FE54-7438-42B5-BAAA-70EEBCF204A5}" type="presOf" srcId="{21C9963C-5ECF-460C-B707-2E60C21ED370}" destId="{C465D861-75DE-4010-B043-C4C74D22270E}" srcOrd="0" destOrd="1" presId="urn:microsoft.com/office/officeart/2005/8/layout/hList1"/>
    <dgm:cxn modelId="{9DAFFB71-D2B9-44F3-9DEA-66FCFB778600}" srcId="{B629C639-57A4-4829-822B-11C3844DDA0D}" destId="{70E18E83-2061-4FA7-ADFF-43EF33CB7F4C}" srcOrd="1" destOrd="0" parTransId="{F92B5E87-90BA-4A90-A5F3-01C793B4F6FC}" sibTransId="{EFD71FFD-FEFA-4C1C-B325-81F90899F4E1}"/>
    <dgm:cxn modelId="{D288B202-DA54-4109-9AC2-CD0A92F6C57F}" srcId="{0C843227-4662-4AD9-8E92-688319F13814}" destId="{85C45D9C-11F8-43F4-ADDC-A0AF7A82732D}" srcOrd="0" destOrd="0" parTransId="{781C4A2A-F24E-40FF-B549-F5DB6E03B1E3}" sibTransId="{0A05D4C4-9D63-436E-96B5-55A5D0EC2538}"/>
    <dgm:cxn modelId="{2530328C-E46D-49F6-AA1C-B624C824CE47}" type="presOf" srcId="{0C843227-4662-4AD9-8E92-688319F13814}" destId="{164C01CA-CF9F-4E97-85B4-785FECA7EE30}" srcOrd="0" destOrd="0" presId="urn:microsoft.com/office/officeart/2005/8/layout/hList1"/>
    <dgm:cxn modelId="{477DB327-3B77-4DF5-8185-9294CDA008B0}" type="presOf" srcId="{3FF11BFD-CD53-465D-8931-29E43283239E}" destId="{720DDC29-0E86-4920-9290-611148E9C721}" srcOrd="0" destOrd="3" presId="urn:microsoft.com/office/officeart/2005/8/layout/hList1"/>
    <dgm:cxn modelId="{4A375DB8-1678-40F6-A7F7-ADB39C02AAF1}" type="presOf" srcId="{B629C639-57A4-4829-822B-11C3844DDA0D}" destId="{5F53CB04-4BA6-45BA-AB34-5182AB6C8324}" srcOrd="0" destOrd="0" presId="urn:microsoft.com/office/officeart/2005/8/layout/hList1"/>
    <dgm:cxn modelId="{29254651-590E-43F8-B6C4-B82E3A552840}" srcId="{0C843227-4662-4AD9-8E92-688319F13814}" destId="{C9B6EC31-8C7A-49F5-9845-2C7EACEAAC88}" srcOrd="2" destOrd="0" parTransId="{A674F796-D6A1-4CA9-9B2A-BF3A55574856}" sibTransId="{24A7A401-5CAE-4CBD-BBDE-B9B6BDC0F548}"/>
    <dgm:cxn modelId="{376FE9B0-9847-4B2D-9C01-C3C54B8C4D7B}" srcId="{B629C639-57A4-4829-822B-11C3844DDA0D}" destId="{E6898182-A778-45E3-9BD5-118231AC5B63}" srcOrd="0" destOrd="0" parTransId="{8D7B9359-604B-4CBA-9714-379D3550A340}" sibTransId="{3B37E060-DFBF-4FC8-8089-C58EDF47F1E3}"/>
    <dgm:cxn modelId="{B35FF40A-2880-45D2-A1AD-04A107531107}" srcId="{B629C639-57A4-4829-822B-11C3844DDA0D}" destId="{3FF11BFD-CD53-465D-8931-29E43283239E}" srcOrd="3" destOrd="0" parTransId="{00263B9D-0ABC-4542-8841-F61E378FE985}" sibTransId="{217C3BE4-1803-4346-BBE2-F0C33A002A0B}"/>
    <dgm:cxn modelId="{02B0D8BF-95BB-4F3A-AFDC-150C51F77BDE}" srcId="{D3060F09-F41F-4855-85D1-58FC2EEE9AF6}" destId="{B629C639-57A4-4829-822B-11C3844DDA0D}" srcOrd="0" destOrd="0" parTransId="{F71D42C1-2A1A-4908-BC49-CEA9D12D5514}" sibTransId="{9D9C5E14-FBF3-44AE-956A-445AFE82D5F8}"/>
    <dgm:cxn modelId="{5C9EB3B9-2016-401B-9F68-F948E644BDBD}" type="presOf" srcId="{E6898182-A778-45E3-9BD5-118231AC5B63}" destId="{720DDC29-0E86-4920-9290-611148E9C721}" srcOrd="0" destOrd="0" presId="urn:microsoft.com/office/officeart/2005/8/layout/hList1"/>
    <dgm:cxn modelId="{02B5A314-E443-4659-BD84-EA4FDA6FE2D0}" type="presOf" srcId="{8962BA05-878B-4728-B2C6-22C880C4AF7C}" destId="{C465D861-75DE-4010-B043-C4C74D22270E}" srcOrd="0" destOrd="3" presId="urn:microsoft.com/office/officeart/2005/8/layout/hList1"/>
    <dgm:cxn modelId="{28C04B0C-438D-4B58-9F11-F1BFF8FC8224}" srcId="{D3060F09-F41F-4855-85D1-58FC2EEE9AF6}" destId="{0C843227-4662-4AD9-8E92-688319F13814}" srcOrd="1" destOrd="0" parTransId="{A377BC28-EE9F-47D4-9D1E-A2EE3F87F504}" sibTransId="{C9F03484-470F-4B85-AB39-16738AB6F4C0}"/>
    <dgm:cxn modelId="{A8F9EAE4-6CC6-4630-A6DC-9A347AF3B2D6}" type="presOf" srcId="{85C45D9C-11F8-43F4-ADDC-A0AF7A82732D}" destId="{C465D861-75DE-4010-B043-C4C74D22270E}" srcOrd="0" destOrd="0" presId="urn:microsoft.com/office/officeart/2005/8/layout/hList1"/>
    <dgm:cxn modelId="{4C502547-1E60-472B-8F93-ACF68C3A2E12}" type="presOf" srcId="{D3060F09-F41F-4855-85D1-58FC2EEE9AF6}" destId="{ED5EB73F-1BE1-4F96-8514-5595D9F9EDB5}" srcOrd="0" destOrd="0" presId="urn:microsoft.com/office/officeart/2005/8/layout/hList1"/>
    <dgm:cxn modelId="{5DC60012-CB8F-434F-9489-8F669B75C2DE}" type="presOf" srcId="{70E18E83-2061-4FA7-ADFF-43EF33CB7F4C}" destId="{720DDC29-0E86-4920-9290-611148E9C721}" srcOrd="0" destOrd="1" presId="urn:microsoft.com/office/officeart/2005/8/layout/hList1"/>
    <dgm:cxn modelId="{CD6B8D0C-7E12-4E8A-92EE-5EB50FDA44EE}" srcId="{B629C639-57A4-4829-822B-11C3844DDA0D}" destId="{0A0B60FC-3A80-4FCE-9D81-56A84178E71D}" srcOrd="2" destOrd="0" parTransId="{E0C69C00-3A62-4814-B494-39AA42DD0F73}" sibTransId="{34580874-061F-4E63-A573-5991A2B82850}"/>
    <dgm:cxn modelId="{9333D409-3F9B-4305-96C0-18C7D40327E1}" srcId="{0C843227-4662-4AD9-8E92-688319F13814}" destId="{21C9963C-5ECF-460C-B707-2E60C21ED370}" srcOrd="1" destOrd="0" parTransId="{738A2649-9BA6-4FBC-80C0-19D58D399043}" sibTransId="{811647EA-4D1B-43A2-91E6-05A0EBC30C3A}"/>
    <dgm:cxn modelId="{AC2E99AD-BFCA-4BE4-9A5F-BC3BE7CFA725}" type="presOf" srcId="{C9B6EC31-8C7A-49F5-9845-2C7EACEAAC88}" destId="{C465D861-75DE-4010-B043-C4C74D22270E}" srcOrd="0" destOrd="2" presId="urn:microsoft.com/office/officeart/2005/8/layout/hList1"/>
    <dgm:cxn modelId="{2A0EB8DF-28F7-4500-8C33-89D75A22AAF4}" srcId="{0C843227-4662-4AD9-8E92-688319F13814}" destId="{8962BA05-878B-4728-B2C6-22C880C4AF7C}" srcOrd="3" destOrd="0" parTransId="{688CF9CA-516C-46FB-830B-C8C611405762}" sibTransId="{2B4FF89F-10C5-4CE4-81A3-F4DAA6A875C6}"/>
    <dgm:cxn modelId="{193946A7-12A3-4544-A4DB-AD8309180C04}" type="presOf" srcId="{0A0B60FC-3A80-4FCE-9D81-56A84178E71D}" destId="{720DDC29-0E86-4920-9290-611148E9C721}" srcOrd="0" destOrd="2" presId="urn:microsoft.com/office/officeart/2005/8/layout/hList1"/>
    <dgm:cxn modelId="{8D64A0B0-6D17-41F8-8333-B90C3E85F4FF}" type="presParOf" srcId="{ED5EB73F-1BE1-4F96-8514-5595D9F9EDB5}" destId="{E5BB7AB6-AB1B-40D8-83A3-720E8CD94358}" srcOrd="0" destOrd="0" presId="urn:microsoft.com/office/officeart/2005/8/layout/hList1"/>
    <dgm:cxn modelId="{0898E6EF-7C00-44DD-A401-66C6291F528D}" type="presParOf" srcId="{E5BB7AB6-AB1B-40D8-83A3-720E8CD94358}" destId="{5F53CB04-4BA6-45BA-AB34-5182AB6C8324}" srcOrd="0" destOrd="0" presId="urn:microsoft.com/office/officeart/2005/8/layout/hList1"/>
    <dgm:cxn modelId="{E4190A6E-8522-400E-9252-4895C4A6253A}" type="presParOf" srcId="{E5BB7AB6-AB1B-40D8-83A3-720E8CD94358}" destId="{720DDC29-0E86-4920-9290-611148E9C721}" srcOrd="1" destOrd="0" presId="urn:microsoft.com/office/officeart/2005/8/layout/hList1"/>
    <dgm:cxn modelId="{CFAEB103-3AA0-4C2A-AF68-5DA62F5C6F84}" type="presParOf" srcId="{ED5EB73F-1BE1-4F96-8514-5595D9F9EDB5}" destId="{CF53E30D-3572-4D0F-B443-500ABCED9C05}" srcOrd="1" destOrd="0" presId="urn:microsoft.com/office/officeart/2005/8/layout/hList1"/>
    <dgm:cxn modelId="{8D25FBAE-33D2-424E-A0A8-0F4940AA992A}" type="presParOf" srcId="{ED5EB73F-1BE1-4F96-8514-5595D9F9EDB5}" destId="{7808D73C-95B6-45BF-9E5B-F432801DE382}" srcOrd="2" destOrd="0" presId="urn:microsoft.com/office/officeart/2005/8/layout/hList1"/>
    <dgm:cxn modelId="{0D7592CE-1C0B-41C7-B59E-FD6BFACB49E2}" type="presParOf" srcId="{7808D73C-95B6-45BF-9E5B-F432801DE382}" destId="{164C01CA-CF9F-4E97-85B4-785FECA7EE30}" srcOrd="0" destOrd="0" presId="urn:microsoft.com/office/officeart/2005/8/layout/hList1"/>
    <dgm:cxn modelId="{2A36B885-08D5-48F6-8310-1EF2A169CD91}" type="presParOf" srcId="{7808D73C-95B6-45BF-9E5B-F432801DE382}" destId="{C465D861-75DE-4010-B043-C4C74D22270E}" srcOrd="1" destOrd="0" presId="urn:microsoft.com/office/officeart/2005/8/layout/hList1"/>
  </dgm:cxnLst>
  <dgm:bg/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115D5BC3-6E1C-4EAC-9351-6E0FC563394C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5876854B-093B-4321-9DF2-508A14C0D742}">
      <dgm:prSet/>
      <dgm:spPr>
        <a:solidFill>
          <a:schemeClr val="accent6">
            <a:lumMod val="20000"/>
            <a:lumOff val="80000"/>
          </a:schemeClr>
        </a:solidFill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  <dgm:t>
        <a:bodyPr/>
        <a:lstStyle/>
        <a:p>
          <a:pPr rtl="0"/>
          <a:r>
            <a:rPr lang="en-US" u="sng" dirty="0">
              <a:solidFill>
                <a:schemeClr val="tx1"/>
              </a:solidFill>
            </a:rPr>
            <a:t>Prerequisite:</a:t>
          </a:r>
          <a:r>
            <a:rPr lang="en-US" u="none" dirty="0">
              <a:solidFill>
                <a:schemeClr val="tx1"/>
              </a:solidFill>
            </a:rPr>
            <a:t>    </a:t>
          </a:r>
          <a:r>
            <a:rPr lang="en-US" dirty="0">
              <a:solidFill>
                <a:schemeClr val="tx1"/>
              </a:solidFill>
            </a:rPr>
            <a:t>BKPF-USNAM    in   USER GROUP</a:t>
          </a:r>
        </a:p>
      </dgm:t>
    </dgm:pt>
    <dgm:pt modelId="{E2019D94-1043-4188-8068-DC293A2FA880}" type="parTrans" cxnId="{1FC38498-3CA1-44C6-9E51-AF868FF6D9AD}">
      <dgm:prSet/>
      <dgm:spPr/>
      <dgm:t>
        <a:bodyPr/>
        <a:lstStyle/>
        <a:p>
          <a:endParaRPr lang="en-US"/>
        </a:p>
      </dgm:t>
    </dgm:pt>
    <dgm:pt modelId="{5880A21E-8CA1-498B-B8B2-B1121635FA0C}" type="sibTrans" cxnId="{1FC38498-3CA1-44C6-9E51-AF868FF6D9AD}">
      <dgm:prSet/>
      <dgm:spPr/>
      <dgm:t>
        <a:bodyPr/>
        <a:lstStyle/>
        <a:p>
          <a:endParaRPr lang="en-US"/>
        </a:p>
      </dgm:t>
    </dgm:pt>
    <dgm:pt modelId="{986F939F-C61E-4858-9272-EDB893881AE5}">
      <dgm:prSet/>
      <dgm:spPr>
        <a:solidFill>
          <a:schemeClr val="accent6">
            <a:lumMod val="20000"/>
            <a:lumOff val="80000"/>
          </a:schemeClr>
        </a:solidFill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  <dgm:t>
        <a:bodyPr/>
        <a:lstStyle/>
        <a:p>
          <a:pPr rtl="0"/>
          <a:r>
            <a:rPr lang="en-US" u="sng" dirty="0">
              <a:solidFill>
                <a:schemeClr val="tx1"/>
              </a:solidFill>
            </a:rPr>
            <a:t>Check: </a:t>
          </a:r>
          <a:r>
            <a:rPr lang="en-US" u="none" dirty="0">
              <a:solidFill>
                <a:schemeClr val="tx1"/>
              </a:solidFill>
            </a:rPr>
            <a:t>           </a:t>
          </a:r>
          <a:r>
            <a:rPr lang="en-US" dirty="0">
              <a:solidFill>
                <a:schemeClr val="tx1"/>
              </a:solidFill>
            </a:rPr>
            <a:t>BSEG-HKONT    in   ACCOUNT MANAGEMENT</a:t>
          </a:r>
        </a:p>
      </dgm:t>
    </dgm:pt>
    <dgm:pt modelId="{58BC49EF-9B1F-450E-8DD9-9AAFD98A04E8}" type="parTrans" cxnId="{357B547E-270B-4556-B675-26FD1B8FA230}">
      <dgm:prSet/>
      <dgm:spPr/>
      <dgm:t>
        <a:bodyPr/>
        <a:lstStyle/>
        <a:p>
          <a:endParaRPr lang="en-US"/>
        </a:p>
      </dgm:t>
    </dgm:pt>
    <dgm:pt modelId="{624B04DD-B3AE-4C6C-8CC5-0BD0EE3AC3CE}" type="sibTrans" cxnId="{357B547E-270B-4556-B675-26FD1B8FA230}">
      <dgm:prSet/>
      <dgm:spPr/>
      <dgm:t>
        <a:bodyPr/>
        <a:lstStyle/>
        <a:p>
          <a:endParaRPr lang="en-US"/>
        </a:p>
      </dgm:t>
    </dgm:pt>
    <dgm:pt modelId="{EB1CD05F-69CF-408C-B331-53A222BCD350}" type="pres">
      <dgm:prSet presAssocID="{115D5BC3-6E1C-4EAC-9351-6E0FC563394C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52C40264-A45E-4335-A2B2-85E03F0E95EE}" type="pres">
      <dgm:prSet presAssocID="{5876854B-093B-4321-9DF2-508A14C0D742}" presName="parentText" presStyleLbl="node1" presStyleIdx="0" presStyleCnt="2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495551A-7827-449D-B1A6-97230AEB837A}" type="pres">
      <dgm:prSet presAssocID="{5880A21E-8CA1-498B-B8B2-B1121635FA0C}" presName="spacer" presStyleCnt="0"/>
      <dgm:spPr/>
    </dgm:pt>
    <dgm:pt modelId="{441A25A9-C664-41D7-B7D2-08CEDB4E3005}" type="pres">
      <dgm:prSet presAssocID="{986F939F-C61E-4858-9272-EDB893881AE5}" presName="parentText" presStyleLbl="node1" presStyleIdx="1" presStyleCnt="2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AB3D3F1D-A911-46DE-A4AF-C9DAD90A9BE4}" type="presOf" srcId="{5876854B-093B-4321-9DF2-508A14C0D742}" destId="{52C40264-A45E-4335-A2B2-85E03F0E95EE}" srcOrd="0" destOrd="0" presId="urn:microsoft.com/office/officeart/2005/8/layout/vList2"/>
    <dgm:cxn modelId="{84474B3A-7AB3-4FBB-AD5B-66ED4340D56F}" type="presOf" srcId="{115D5BC3-6E1C-4EAC-9351-6E0FC563394C}" destId="{EB1CD05F-69CF-408C-B331-53A222BCD350}" srcOrd="0" destOrd="0" presId="urn:microsoft.com/office/officeart/2005/8/layout/vList2"/>
    <dgm:cxn modelId="{443BA59D-5A19-461C-924A-B53E725761A2}" type="presOf" srcId="{986F939F-C61E-4858-9272-EDB893881AE5}" destId="{441A25A9-C664-41D7-B7D2-08CEDB4E3005}" srcOrd="0" destOrd="0" presId="urn:microsoft.com/office/officeart/2005/8/layout/vList2"/>
    <dgm:cxn modelId="{1FC38498-3CA1-44C6-9E51-AF868FF6D9AD}" srcId="{115D5BC3-6E1C-4EAC-9351-6E0FC563394C}" destId="{5876854B-093B-4321-9DF2-508A14C0D742}" srcOrd="0" destOrd="0" parTransId="{E2019D94-1043-4188-8068-DC293A2FA880}" sibTransId="{5880A21E-8CA1-498B-B8B2-B1121635FA0C}"/>
    <dgm:cxn modelId="{357B547E-270B-4556-B675-26FD1B8FA230}" srcId="{115D5BC3-6E1C-4EAC-9351-6E0FC563394C}" destId="{986F939F-C61E-4858-9272-EDB893881AE5}" srcOrd="1" destOrd="0" parTransId="{58BC49EF-9B1F-450E-8DD9-9AAFD98A04E8}" sibTransId="{624B04DD-B3AE-4C6C-8CC5-0BD0EE3AC3CE}"/>
    <dgm:cxn modelId="{DAC3577B-63C2-4A24-8AE0-8CD6AA2BBB8B}" type="presParOf" srcId="{EB1CD05F-69CF-408C-B331-53A222BCD350}" destId="{52C40264-A45E-4335-A2B2-85E03F0E95EE}" srcOrd="0" destOrd="0" presId="urn:microsoft.com/office/officeart/2005/8/layout/vList2"/>
    <dgm:cxn modelId="{70AF8E67-B532-424A-A755-0A051DC4BE6C}" type="presParOf" srcId="{EB1CD05F-69CF-408C-B331-53A222BCD350}" destId="{8495551A-7827-449D-B1A6-97230AEB837A}" srcOrd="1" destOrd="0" presId="urn:microsoft.com/office/officeart/2005/8/layout/vList2"/>
    <dgm:cxn modelId="{DB1D15E0-CBEB-4EA4-88F7-A3E9B119CD57}" type="presParOf" srcId="{EB1CD05F-69CF-408C-B331-53A222BCD350}" destId="{441A25A9-C664-41D7-B7D2-08CEDB4E3005}" srcOrd="2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xmlns="" relId="rId11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59923391-13B1-4A05-B0BD-54033F5EB283}">
      <dsp:nvSpPr>
        <dsp:cNvPr id="0" name=""/>
        <dsp:cNvSpPr/>
      </dsp:nvSpPr>
      <dsp:spPr>
        <a:xfrm>
          <a:off x="0" y="823739"/>
          <a:ext cx="7391400" cy="5292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FF565D8-69D8-4A13-A441-9ED1A07415DC}">
      <dsp:nvSpPr>
        <dsp:cNvPr id="0" name=""/>
        <dsp:cNvSpPr/>
      </dsp:nvSpPr>
      <dsp:spPr>
        <a:xfrm>
          <a:off x="369570" y="513779"/>
          <a:ext cx="5173980" cy="619920"/>
        </a:xfrm>
        <a:prstGeom prst="roundRect">
          <a:avLst/>
        </a:prstGeom>
        <a:solidFill>
          <a:schemeClr val="accent6"/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50800" dist="38100" dir="5400000" algn="t" rotWithShape="0">
            <a:prstClr val="black">
              <a:alpha val="40000"/>
            </a:prstClr>
          </a:outerShdw>
        </a:effectLst>
        <a:scene3d>
          <a:camera prst="perspectiveFront"/>
          <a:lightRig rig="threePt" dir="t"/>
        </a:scene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5564" tIns="0" rIns="195564" bIns="0" numCol="1" spcCol="1270" anchor="ctr" anchorCtr="0">
          <a:noAutofit/>
        </a:bodyPr>
        <a:lstStyle/>
        <a:p>
          <a:pPr lvl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100" kern="1200" dirty="0"/>
            <a:t>Basics of Validations/substitutions</a:t>
          </a:r>
        </a:p>
      </dsp:txBody>
      <dsp:txXfrm>
        <a:off x="369570" y="513779"/>
        <a:ext cx="5173980" cy="619920"/>
      </dsp:txXfrm>
    </dsp:sp>
    <dsp:sp modelId="{4447009D-8EA2-41AA-BBF3-3154EA9B2F24}">
      <dsp:nvSpPr>
        <dsp:cNvPr id="0" name=""/>
        <dsp:cNvSpPr/>
      </dsp:nvSpPr>
      <dsp:spPr>
        <a:xfrm>
          <a:off x="0" y="1776299"/>
          <a:ext cx="7391400" cy="5292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F1B875E-30C4-4296-AF0A-B2F0FF98E937}">
      <dsp:nvSpPr>
        <dsp:cNvPr id="0" name=""/>
        <dsp:cNvSpPr/>
      </dsp:nvSpPr>
      <dsp:spPr>
        <a:xfrm>
          <a:off x="369570" y="1466339"/>
          <a:ext cx="5173980" cy="619920"/>
        </a:xfrm>
        <a:prstGeom prst="roundRect">
          <a:avLst/>
        </a:prstGeom>
        <a:solidFill>
          <a:schemeClr val="accent6"/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50800" dist="38100" dir="5400000" algn="t" rotWithShape="0">
            <a:prstClr val="black">
              <a:alpha val="40000"/>
            </a:prstClr>
          </a:outerShdw>
        </a:effectLst>
        <a:scene3d>
          <a:camera prst="perspectiveFront"/>
          <a:lightRig rig="threePt" dir="t"/>
        </a:scene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5564" tIns="0" rIns="195564" bIns="0" numCol="1" spcCol="1270" anchor="ctr" anchorCtr="0">
          <a:noAutofit/>
        </a:bodyPr>
        <a:lstStyle/>
        <a:p>
          <a:pPr lvl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100" kern="1200" dirty="0"/>
            <a:t>Validations in Financial Accounting	</a:t>
          </a:r>
        </a:p>
      </dsp:txBody>
      <dsp:txXfrm>
        <a:off x="369570" y="1466339"/>
        <a:ext cx="5173980" cy="619920"/>
      </dsp:txXfrm>
    </dsp:sp>
    <dsp:sp modelId="{0B15E5D7-78A0-46A8-B805-14B307C3929F}">
      <dsp:nvSpPr>
        <dsp:cNvPr id="0" name=""/>
        <dsp:cNvSpPr/>
      </dsp:nvSpPr>
      <dsp:spPr>
        <a:xfrm>
          <a:off x="0" y="2728860"/>
          <a:ext cx="7391400" cy="5292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08892F6-9082-488F-A32B-06D8AF648161}">
      <dsp:nvSpPr>
        <dsp:cNvPr id="0" name=""/>
        <dsp:cNvSpPr/>
      </dsp:nvSpPr>
      <dsp:spPr>
        <a:xfrm>
          <a:off x="369570" y="2418900"/>
          <a:ext cx="5173980" cy="619920"/>
        </a:xfrm>
        <a:prstGeom prst="roundRect">
          <a:avLst/>
        </a:prstGeom>
        <a:solidFill>
          <a:schemeClr val="accent6"/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50800" dist="38100" dir="5400000" algn="t" rotWithShape="0">
            <a:prstClr val="black">
              <a:alpha val="40000"/>
            </a:prstClr>
          </a:outerShdw>
        </a:effectLst>
        <a:scene3d>
          <a:camera prst="perspectiveFront"/>
          <a:lightRig rig="threePt" dir="t"/>
        </a:scene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5564" tIns="0" rIns="195564" bIns="0" numCol="1" spcCol="1270" anchor="ctr" anchorCtr="0">
          <a:noAutofit/>
        </a:bodyPr>
        <a:lstStyle/>
        <a:p>
          <a:pPr lvl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100" kern="1200" dirty="0"/>
            <a:t>Substitutions in Financial Accounting</a:t>
          </a:r>
        </a:p>
      </dsp:txBody>
      <dsp:txXfrm>
        <a:off x="369570" y="2418900"/>
        <a:ext cx="5173980" cy="619920"/>
      </dsp:txXfrm>
    </dsp:sp>
    <dsp:sp modelId="{E4831231-EA6F-485D-A4BA-3A5CF0E78F22}">
      <dsp:nvSpPr>
        <dsp:cNvPr id="0" name=""/>
        <dsp:cNvSpPr/>
      </dsp:nvSpPr>
      <dsp:spPr>
        <a:xfrm>
          <a:off x="0" y="3681420"/>
          <a:ext cx="7391400" cy="5292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A734AB2-47DC-430A-AF94-79125E632AC1}">
      <dsp:nvSpPr>
        <dsp:cNvPr id="0" name=""/>
        <dsp:cNvSpPr/>
      </dsp:nvSpPr>
      <dsp:spPr>
        <a:xfrm>
          <a:off x="369570" y="3371460"/>
          <a:ext cx="5173980" cy="619920"/>
        </a:xfrm>
        <a:prstGeom prst="roundRect">
          <a:avLst/>
        </a:prstGeom>
        <a:solidFill>
          <a:schemeClr val="accent6"/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50800" dist="38100" dir="5400000" algn="t" rotWithShape="0">
            <a:prstClr val="black">
              <a:alpha val="40000"/>
            </a:prstClr>
          </a:outerShdw>
        </a:effectLst>
        <a:scene3d>
          <a:camera prst="perspectiveFront"/>
          <a:lightRig rig="threePt" dir="t"/>
        </a:scene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5564" tIns="0" rIns="195564" bIns="0" numCol="1" spcCol="1270" anchor="ctr" anchorCtr="0">
          <a:noAutofit/>
        </a:bodyPr>
        <a:lstStyle/>
        <a:p>
          <a:pPr lvl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100" kern="1200" dirty="0"/>
            <a:t>Rules and Sets</a:t>
          </a:r>
        </a:p>
      </dsp:txBody>
      <dsp:txXfrm>
        <a:off x="369570" y="3371460"/>
        <a:ext cx="5173980" cy="619920"/>
      </dsp:txXfrm>
    </dsp:sp>
  </dsp:spTree>
</dsp:drawing>
</file>

<file path=ppt/diagrams/drawing2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59923391-13B1-4A05-B0BD-54033F5EB283}">
      <dsp:nvSpPr>
        <dsp:cNvPr id="0" name=""/>
        <dsp:cNvSpPr/>
      </dsp:nvSpPr>
      <dsp:spPr>
        <a:xfrm>
          <a:off x="0" y="823739"/>
          <a:ext cx="7391400" cy="5292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FF565D8-69D8-4A13-A441-9ED1A07415DC}">
      <dsp:nvSpPr>
        <dsp:cNvPr id="0" name=""/>
        <dsp:cNvSpPr/>
      </dsp:nvSpPr>
      <dsp:spPr>
        <a:xfrm>
          <a:off x="369570" y="513779"/>
          <a:ext cx="5173980" cy="619920"/>
        </a:xfrm>
        <a:prstGeom prst="roundRect">
          <a:avLst/>
        </a:prstGeom>
        <a:solidFill>
          <a:schemeClr val="accent6"/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50800" dist="38100" dir="5400000" algn="t" rotWithShape="0">
            <a:prstClr val="black">
              <a:alpha val="40000"/>
            </a:prstClr>
          </a:outerShdw>
        </a:effectLst>
        <a:scene3d>
          <a:camera prst="perspectiveFront"/>
          <a:lightRig rig="threePt" dir="t"/>
        </a:scene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5564" tIns="0" rIns="195564" bIns="0" numCol="1" spcCol="1270" anchor="ctr" anchorCtr="0">
          <a:noAutofit/>
        </a:bodyPr>
        <a:lstStyle/>
        <a:p>
          <a:pPr lvl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100" kern="1200" dirty="0"/>
            <a:t>Basics of Validations/substitutions</a:t>
          </a:r>
        </a:p>
      </dsp:txBody>
      <dsp:txXfrm>
        <a:off x="369570" y="513779"/>
        <a:ext cx="5173980" cy="619920"/>
      </dsp:txXfrm>
    </dsp:sp>
    <dsp:sp modelId="{4447009D-8EA2-41AA-BBF3-3154EA9B2F24}">
      <dsp:nvSpPr>
        <dsp:cNvPr id="0" name=""/>
        <dsp:cNvSpPr/>
      </dsp:nvSpPr>
      <dsp:spPr>
        <a:xfrm>
          <a:off x="0" y="1776299"/>
          <a:ext cx="7391400" cy="5292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F1B875E-30C4-4296-AF0A-B2F0FF98E937}">
      <dsp:nvSpPr>
        <dsp:cNvPr id="0" name=""/>
        <dsp:cNvSpPr/>
      </dsp:nvSpPr>
      <dsp:spPr>
        <a:xfrm>
          <a:off x="369570" y="1466339"/>
          <a:ext cx="5173980" cy="619920"/>
        </a:xfrm>
        <a:prstGeom prst="roundRect">
          <a:avLst/>
        </a:prstGeom>
        <a:solidFill>
          <a:schemeClr val="accent6">
            <a:alpha val="2400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50800" dist="38100" dir="5400000" algn="t" rotWithShape="0">
            <a:prstClr val="black">
              <a:alpha val="40000"/>
            </a:prstClr>
          </a:outerShdw>
        </a:effectLst>
        <a:scene3d>
          <a:camera prst="perspectiveFront"/>
          <a:lightRig rig="threePt" dir="t"/>
        </a:scene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5564" tIns="0" rIns="195564" bIns="0" numCol="1" spcCol="1270" anchor="ctr" anchorCtr="0">
          <a:noAutofit/>
        </a:bodyPr>
        <a:lstStyle/>
        <a:p>
          <a:pPr lvl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100" kern="1200" dirty="0"/>
            <a:t>Validations in Financial Accounting	</a:t>
          </a:r>
        </a:p>
      </dsp:txBody>
      <dsp:txXfrm>
        <a:off x="369570" y="1466339"/>
        <a:ext cx="5173980" cy="619920"/>
      </dsp:txXfrm>
    </dsp:sp>
    <dsp:sp modelId="{0B15E5D7-78A0-46A8-B805-14B307C3929F}">
      <dsp:nvSpPr>
        <dsp:cNvPr id="0" name=""/>
        <dsp:cNvSpPr/>
      </dsp:nvSpPr>
      <dsp:spPr>
        <a:xfrm>
          <a:off x="0" y="2728860"/>
          <a:ext cx="7391400" cy="5292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08892F6-9082-488F-A32B-06D8AF648161}">
      <dsp:nvSpPr>
        <dsp:cNvPr id="0" name=""/>
        <dsp:cNvSpPr/>
      </dsp:nvSpPr>
      <dsp:spPr>
        <a:xfrm>
          <a:off x="369570" y="2418900"/>
          <a:ext cx="5173980" cy="619920"/>
        </a:xfrm>
        <a:prstGeom prst="roundRect">
          <a:avLst/>
        </a:prstGeom>
        <a:solidFill>
          <a:schemeClr val="accent6">
            <a:alpha val="2400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50800" dist="38100" dir="5400000" algn="t" rotWithShape="0">
            <a:prstClr val="black">
              <a:alpha val="40000"/>
            </a:prstClr>
          </a:outerShdw>
        </a:effectLst>
        <a:scene3d>
          <a:camera prst="perspectiveFront"/>
          <a:lightRig rig="threePt" dir="t"/>
        </a:scene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5564" tIns="0" rIns="195564" bIns="0" numCol="1" spcCol="1270" anchor="ctr" anchorCtr="0">
          <a:noAutofit/>
        </a:bodyPr>
        <a:lstStyle/>
        <a:p>
          <a:pPr lvl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100" kern="1200" dirty="0"/>
            <a:t>Substitutions in Financial Accounting</a:t>
          </a:r>
        </a:p>
      </dsp:txBody>
      <dsp:txXfrm>
        <a:off x="369570" y="2418900"/>
        <a:ext cx="5173980" cy="619920"/>
      </dsp:txXfrm>
    </dsp:sp>
    <dsp:sp modelId="{E4831231-EA6F-485D-A4BA-3A5CF0E78F22}">
      <dsp:nvSpPr>
        <dsp:cNvPr id="0" name=""/>
        <dsp:cNvSpPr/>
      </dsp:nvSpPr>
      <dsp:spPr>
        <a:xfrm>
          <a:off x="0" y="3681420"/>
          <a:ext cx="7391400" cy="5292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A734AB2-47DC-430A-AF94-79125E632AC1}">
      <dsp:nvSpPr>
        <dsp:cNvPr id="0" name=""/>
        <dsp:cNvSpPr/>
      </dsp:nvSpPr>
      <dsp:spPr>
        <a:xfrm>
          <a:off x="369570" y="3371460"/>
          <a:ext cx="5173980" cy="619920"/>
        </a:xfrm>
        <a:prstGeom prst="roundRect">
          <a:avLst/>
        </a:prstGeom>
        <a:solidFill>
          <a:schemeClr val="accent6">
            <a:alpha val="2400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50800" dist="38100" dir="5400000" algn="t" rotWithShape="0">
            <a:prstClr val="black">
              <a:alpha val="40000"/>
            </a:prstClr>
          </a:outerShdw>
        </a:effectLst>
        <a:scene3d>
          <a:camera prst="perspectiveFront"/>
          <a:lightRig rig="threePt" dir="t"/>
        </a:scene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5564" tIns="0" rIns="195564" bIns="0" numCol="1" spcCol="1270" anchor="ctr" anchorCtr="0">
          <a:noAutofit/>
        </a:bodyPr>
        <a:lstStyle/>
        <a:p>
          <a:pPr lvl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100" kern="1200" dirty="0"/>
            <a:t>Rules and Sets</a:t>
          </a:r>
        </a:p>
      </dsp:txBody>
      <dsp:txXfrm>
        <a:off x="369570" y="3371460"/>
        <a:ext cx="5173980" cy="619920"/>
      </dsp:txXfrm>
    </dsp:sp>
  </dsp:spTree>
</dsp:drawing>
</file>

<file path=ppt/diagrams/drawing3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59923391-13B1-4A05-B0BD-54033F5EB283}">
      <dsp:nvSpPr>
        <dsp:cNvPr id="0" name=""/>
        <dsp:cNvSpPr/>
      </dsp:nvSpPr>
      <dsp:spPr>
        <a:xfrm>
          <a:off x="0" y="823739"/>
          <a:ext cx="7391400" cy="5292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FF565D8-69D8-4A13-A441-9ED1A07415DC}">
      <dsp:nvSpPr>
        <dsp:cNvPr id="0" name=""/>
        <dsp:cNvSpPr/>
      </dsp:nvSpPr>
      <dsp:spPr>
        <a:xfrm>
          <a:off x="369570" y="513779"/>
          <a:ext cx="5173980" cy="619920"/>
        </a:xfrm>
        <a:prstGeom prst="roundRect">
          <a:avLst/>
        </a:prstGeom>
        <a:solidFill>
          <a:schemeClr val="accent6">
            <a:alpha val="2400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50800" dist="38100" dir="5400000" algn="t" rotWithShape="0">
            <a:prstClr val="black">
              <a:alpha val="40000"/>
            </a:prstClr>
          </a:outerShdw>
        </a:effectLst>
        <a:scene3d>
          <a:camera prst="perspectiveFront"/>
          <a:lightRig rig="threePt" dir="t"/>
        </a:scene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5564" tIns="0" rIns="195564" bIns="0" numCol="1" spcCol="1270" anchor="ctr" anchorCtr="0">
          <a:noAutofit/>
        </a:bodyPr>
        <a:lstStyle/>
        <a:p>
          <a:pPr lvl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100" kern="1200" dirty="0"/>
            <a:t>Basics of Validations/substitutions</a:t>
          </a:r>
        </a:p>
      </dsp:txBody>
      <dsp:txXfrm>
        <a:off x="369570" y="513779"/>
        <a:ext cx="5173980" cy="619920"/>
      </dsp:txXfrm>
    </dsp:sp>
    <dsp:sp modelId="{4447009D-8EA2-41AA-BBF3-3154EA9B2F24}">
      <dsp:nvSpPr>
        <dsp:cNvPr id="0" name=""/>
        <dsp:cNvSpPr/>
      </dsp:nvSpPr>
      <dsp:spPr>
        <a:xfrm>
          <a:off x="0" y="1776299"/>
          <a:ext cx="7391400" cy="5292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F1B875E-30C4-4296-AF0A-B2F0FF98E937}">
      <dsp:nvSpPr>
        <dsp:cNvPr id="0" name=""/>
        <dsp:cNvSpPr/>
      </dsp:nvSpPr>
      <dsp:spPr>
        <a:xfrm>
          <a:off x="369570" y="1466339"/>
          <a:ext cx="5173980" cy="619920"/>
        </a:xfrm>
        <a:prstGeom prst="roundRect">
          <a:avLst/>
        </a:prstGeom>
        <a:solidFill>
          <a:schemeClr val="accent6"/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50800" dist="38100" dir="5400000" algn="t" rotWithShape="0">
            <a:prstClr val="black">
              <a:alpha val="40000"/>
            </a:prstClr>
          </a:outerShdw>
        </a:effectLst>
        <a:scene3d>
          <a:camera prst="perspectiveFront"/>
          <a:lightRig rig="threePt" dir="t"/>
        </a:scene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5564" tIns="0" rIns="195564" bIns="0" numCol="1" spcCol="1270" anchor="ctr" anchorCtr="0">
          <a:noAutofit/>
        </a:bodyPr>
        <a:lstStyle/>
        <a:p>
          <a:pPr lvl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100" kern="1200" dirty="0"/>
            <a:t>Validations in Financial Accounting	</a:t>
          </a:r>
        </a:p>
      </dsp:txBody>
      <dsp:txXfrm>
        <a:off x="369570" y="1466339"/>
        <a:ext cx="5173980" cy="619920"/>
      </dsp:txXfrm>
    </dsp:sp>
    <dsp:sp modelId="{0B15E5D7-78A0-46A8-B805-14B307C3929F}">
      <dsp:nvSpPr>
        <dsp:cNvPr id="0" name=""/>
        <dsp:cNvSpPr/>
      </dsp:nvSpPr>
      <dsp:spPr>
        <a:xfrm>
          <a:off x="0" y="2728860"/>
          <a:ext cx="7391400" cy="5292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08892F6-9082-488F-A32B-06D8AF648161}">
      <dsp:nvSpPr>
        <dsp:cNvPr id="0" name=""/>
        <dsp:cNvSpPr/>
      </dsp:nvSpPr>
      <dsp:spPr>
        <a:xfrm>
          <a:off x="369570" y="2418900"/>
          <a:ext cx="5173980" cy="619920"/>
        </a:xfrm>
        <a:prstGeom prst="roundRect">
          <a:avLst/>
        </a:prstGeom>
        <a:solidFill>
          <a:schemeClr val="accent6">
            <a:alpha val="2400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50800" dist="38100" dir="5400000" algn="t" rotWithShape="0">
            <a:prstClr val="black">
              <a:alpha val="40000"/>
            </a:prstClr>
          </a:outerShdw>
        </a:effectLst>
        <a:scene3d>
          <a:camera prst="perspectiveFront"/>
          <a:lightRig rig="threePt" dir="t"/>
        </a:scene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5564" tIns="0" rIns="195564" bIns="0" numCol="1" spcCol="1270" anchor="ctr" anchorCtr="0">
          <a:noAutofit/>
        </a:bodyPr>
        <a:lstStyle/>
        <a:p>
          <a:pPr lvl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100" kern="1200" dirty="0"/>
            <a:t>Substitutions in Financial Accounting</a:t>
          </a:r>
        </a:p>
      </dsp:txBody>
      <dsp:txXfrm>
        <a:off x="369570" y="2418900"/>
        <a:ext cx="5173980" cy="619920"/>
      </dsp:txXfrm>
    </dsp:sp>
    <dsp:sp modelId="{E4831231-EA6F-485D-A4BA-3A5CF0E78F22}">
      <dsp:nvSpPr>
        <dsp:cNvPr id="0" name=""/>
        <dsp:cNvSpPr/>
      </dsp:nvSpPr>
      <dsp:spPr>
        <a:xfrm>
          <a:off x="0" y="3681420"/>
          <a:ext cx="7391400" cy="5292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A734AB2-47DC-430A-AF94-79125E632AC1}">
      <dsp:nvSpPr>
        <dsp:cNvPr id="0" name=""/>
        <dsp:cNvSpPr/>
      </dsp:nvSpPr>
      <dsp:spPr>
        <a:xfrm>
          <a:off x="369570" y="3371460"/>
          <a:ext cx="5173980" cy="619920"/>
        </a:xfrm>
        <a:prstGeom prst="roundRect">
          <a:avLst/>
        </a:prstGeom>
        <a:solidFill>
          <a:schemeClr val="accent6">
            <a:alpha val="2400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50800" dist="38100" dir="5400000" algn="t" rotWithShape="0">
            <a:prstClr val="black">
              <a:alpha val="40000"/>
            </a:prstClr>
          </a:outerShdw>
        </a:effectLst>
        <a:scene3d>
          <a:camera prst="perspectiveFront"/>
          <a:lightRig rig="threePt" dir="t"/>
        </a:scene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5564" tIns="0" rIns="195564" bIns="0" numCol="1" spcCol="1270" anchor="ctr" anchorCtr="0">
          <a:noAutofit/>
        </a:bodyPr>
        <a:lstStyle/>
        <a:p>
          <a:pPr lvl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100" kern="1200" dirty="0"/>
            <a:t>Rules and Sets</a:t>
          </a:r>
        </a:p>
      </dsp:txBody>
      <dsp:txXfrm>
        <a:off x="369570" y="3371460"/>
        <a:ext cx="5173980" cy="619920"/>
      </dsp:txXfrm>
    </dsp:sp>
  </dsp:spTree>
</dsp:drawing>
</file>

<file path=ppt/diagrams/drawing4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59923391-13B1-4A05-B0BD-54033F5EB283}">
      <dsp:nvSpPr>
        <dsp:cNvPr id="0" name=""/>
        <dsp:cNvSpPr/>
      </dsp:nvSpPr>
      <dsp:spPr>
        <a:xfrm>
          <a:off x="0" y="823739"/>
          <a:ext cx="7391400" cy="5292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FF565D8-69D8-4A13-A441-9ED1A07415DC}">
      <dsp:nvSpPr>
        <dsp:cNvPr id="0" name=""/>
        <dsp:cNvSpPr/>
      </dsp:nvSpPr>
      <dsp:spPr>
        <a:xfrm>
          <a:off x="369570" y="513779"/>
          <a:ext cx="5173980" cy="619920"/>
        </a:xfrm>
        <a:prstGeom prst="roundRect">
          <a:avLst/>
        </a:prstGeom>
        <a:solidFill>
          <a:schemeClr val="accent6">
            <a:alpha val="2400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50800" dist="38100" dir="5400000" algn="t" rotWithShape="0">
            <a:prstClr val="black">
              <a:alpha val="40000"/>
            </a:prstClr>
          </a:outerShdw>
        </a:effectLst>
        <a:scene3d>
          <a:camera prst="perspectiveFront"/>
          <a:lightRig rig="threePt" dir="t"/>
        </a:scene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5564" tIns="0" rIns="195564" bIns="0" numCol="1" spcCol="1270" anchor="ctr" anchorCtr="0">
          <a:noAutofit/>
        </a:bodyPr>
        <a:lstStyle/>
        <a:p>
          <a:pPr lvl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100" kern="1200" dirty="0"/>
            <a:t>Basics of Validations/substitutions</a:t>
          </a:r>
        </a:p>
      </dsp:txBody>
      <dsp:txXfrm>
        <a:off x="369570" y="513779"/>
        <a:ext cx="5173980" cy="619920"/>
      </dsp:txXfrm>
    </dsp:sp>
    <dsp:sp modelId="{4447009D-8EA2-41AA-BBF3-3154EA9B2F24}">
      <dsp:nvSpPr>
        <dsp:cNvPr id="0" name=""/>
        <dsp:cNvSpPr/>
      </dsp:nvSpPr>
      <dsp:spPr>
        <a:xfrm>
          <a:off x="0" y="1776299"/>
          <a:ext cx="7391400" cy="5292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F1B875E-30C4-4296-AF0A-B2F0FF98E937}">
      <dsp:nvSpPr>
        <dsp:cNvPr id="0" name=""/>
        <dsp:cNvSpPr/>
      </dsp:nvSpPr>
      <dsp:spPr>
        <a:xfrm>
          <a:off x="369570" y="1466339"/>
          <a:ext cx="5173980" cy="619920"/>
        </a:xfrm>
        <a:prstGeom prst="roundRect">
          <a:avLst/>
        </a:prstGeom>
        <a:solidFill>
          <a:schemeClr val="accent6">
            <a:alpha val="2400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50800" dist="38100" dir="5400000" algn="t" rotWithShape="0">
            <a:prstClr val="black">
              <a:alpha val="40000"/>
            </a:prstClr>
          </a:outerShdw>
        </a:effectLst>
        <a:scene3d>
          <a:camera prst="perspectiveFront"/>
          <a:lightRig rig="threePt" dir="t"/>
        </a:scene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5564" tIns="0" rIns="195564" bIns="0" numCol="1" spcCol="1270" anchor="ctr" anchorCtr="0">
          <a:noAutofit/>
        </a:bodyPr>
        <a:lstStyle/>
        <a:p>
          <a:pPr lvl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100" kern="1200" dirty="0"/>
            <a:t>Validations in Financial Accounting	</a:t>
          </a:r>
        </a:p>
      </dsp:txBody>
      <dsp:txXfrm>
        <a:off x="369570" y="1466339"/>
        <a:ext cx="5173980" cy="619920"/>
      </dsp:txXfrm>
    </dsp:sp>
    <dsp:sp modelId="{0B15E5D7-78A0-46A8-B805-14B307C3929F}">
      <dsp:nvSpPr>
        <dsp:cNvPr id="0" name=""/>
        <dsp:cNvSpPr/>
      </dsp:nvSpPr>
      <dsp:spPr>
        <a:xfrm>
          <a:off x="0" y="2728860"/>
          <a:ext cx="7391400" cy="5292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08892F6-9082-488F-A32B-06D8AF648161}">
      <dsp:nvSpPr>
        <dsp:cNvPr id="0" name=""/>
        <dsp:cNvSpPr/>
      </dsp:nvSpPr>
      <dsp:spPr>
        <a:xfrm>
          <a:off x="369570" y="2418900"/>
          <a:ext cx="5173980" cy="619920"/>
        </a:xfrm>
        <a:prstGeom prst="roundRect">
          <a:avLst/>
        </a:prstGeom>
        <a:solidFill>
          <a:schemeClr val="accent6"/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50800" dist="38100" dir="5400000" algn="t" rotWithShape="0">
            <a:prstClr val="black">
              <a:alpha val="40000"/>
            </a:prstClr>
          </a:outerShdw>
        </a:effectLst>
        <a:scene3d>
          <a:camera prst="perspectiveFront"/>
          <a:lightRig rig="threePt" dir="t"/>
        </a:scene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5564" tIns="0" rIns="195564" bIns="0" numCol="1" spcCol="1270" anchor="ctr" anchorCtr="0">
          <a:noAutofit/>
        </a:bodyPr>
        <a:lstStyle/>
        <a:p>
          <a:pPr lvl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100" kern="1200" dirty="0"/>
            <a:t>Substitutions in Financial Accounting</a:t>
          </a:r>
        </a:p>
      </dsp:txBody>
      <dsp:txXfrm>
        <a:off x="369570" y="2418900"/>
        <a:ext cx="5173980" cy="619920"/>
      </dsp:txXfrm>
    </dsp:sp>
    <dsp:sp modelId="{E4831231-EA6F-485D-A4BA-3A5CF0E78F22}">
      <dsp:nvSpPr>
        <dsp:cNvPr id="0" name=""/>
        <dsp:cNvSpPr/>
      </dsp:nvSpPr>
      <dsp:spPr>
        <a:xfrm>
          <a:off x="0" y="3681420"/>
          <a:ext cx="7391400" cy="5292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A734AB2-47DC-430A-AF94-79125E632AC1}">
      <dsp:nvSpPr>
        <dsp:cNvPr id="0" name=""/>
        <dsp:cNvSpPr/>
      </dsp:nvSpPr>
      <dsp:spPr>
        <a:xfrm>
          <a:off x="369570" y="3371460"/>
          <a:ext cx="5173980" cy="619920"/>
        </a:xfrm>
        <a:prstGeom prst="roundRect">
          <a:avLst/>
        </a:prstGeom>
        <a:solidFill>
          <a:schemeClr val="accent6">
            <a:alpha val="2400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50800" dist="38100" dir="5400000" algn="t" rotWithShape="0">
            <a:prstClr val="black">
              <a:alpha val="40000"/>
            </a:prstClr>
          </a:outerShdw>
        </a:effectLst>
        <a:scene3d>
          <a:camera prst="perspectiveFront"/>
          <a:lightRig rig="threePt" dir="t"/>
        </a:scene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5564" tIns="0" rIns="195564" bIns="0" numCol="1" spcCol="1270" anchor="ctr" anchorCtr="0">
          <a:noAutofit/>
        </a:bodyPr>
        <a:lstStyle/>
        <a:p>
          <a:pPr lvl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100" kern="1200" dirty="0"/>
            <a:t>Rules and Sets</a:t>
          </a:r>
        </a:p>
      </dsp:txBody>
      <dsp:txXfrm>
        <a:off x="369570" y="3371460"/>
        <a:ext cx="5173980" cy="619920"/>
      </dsp:txXfrm>
    </dsp:sp>
  </dsp:spTree>
</dsp:drawing>
</file>

<file path=ppt/diagrams/drawing5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59923391-13B1-4A05-B0BD-54033F5EB283}">
      <dsp:nvSpPr>
        <dsp:cNvPr id="0" name=""/>
        <dsp:cNvSpPr/>
      </dsp:nvSpPr>
      <dsp:spPr>
        <a:xfrm>
          <a:off x="0" y="823739"/>
          <a:ext cx="7391400" cy="5292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FF565D8-69D8-4A13-A441-9ED1A07415DC}">
      <dsp:nvSpPr>
        <dsp:cNvPr id="0" name=""/>
        <dsp:cNvSpPr/>
      </dsp:nvSpPr>
      <dsp:spPr>
        <a:xfrm>
          <a:off x="369570" y="513779"/>
          <a:ext cx="5173980" cy="619920"/>
        </a:xfrm>
        <a:prstGeom prst="roundRect">
          <a:avLst/>
        </a:prstGeom>
        <a:solidFill>
          <a:schemeClr val="accent6">
            <a:alpha val="2400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50800" dist="38100" dir="5400000" algn="t" rotWithShape="0">
            <a:prstClr val="black">
              <a:alpha val="40000"/>
            </a:prstClr>
          </a:outerShdw>
        </a:effectLst>
        <a:scene3d>
          <a:camera prst="perspectiveFront"/>
          <a:lightRig rig="threePt" dir="t"/>
        </a:scene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5564" tIns="0" rIns="195564" bIns="0" numCol="1" spcCol="1270" anchor="ctr" anchorCtr="0">
          <a:noAutofit/>
        </a:bodyPr>
        <a:lstStyle/>
        <a:p>
          <a:pPr lvl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100" kern="1200" dirty="0"/>
            <a:t>Basics of Validations/substitutions</a:t>
          </a:r>
        </a:p>
      </dsp:txBody>
      <dsp:txXfrm>
        <a:off x="369570" y="513779"/>
        <a:ext cx="5173980" cy="619920"/>
      </dsp:txXfrm>
    </dsp:sp>
    <dsp:sp modelId="{4447009D-8EA2-41AA-BBF3-3154EA9B2F24}">
      <dsp:nvSpPr>
        <dsp:cNvPr id="0" name=""/>
        <dsp:cNvSpPr/>
      </dsp:nvSpPr>
      <dsp:spPr>
        <a:xfrm>
          <a:off x="0" y="1776299"/>
          <a:ext cx="7391400" cy="5292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F1B875E-30C4-4296-AF0A-B2F0FF98E937}">
      <dsp:nvSpPr>
        <dsp:cNvPr id="0" name=""/>
        <dsp:cNvSpPr/>
      </dsp:nvSpPr>
      <dsp:spPr>
        <a:xfrm>
          <a:off x="369570" y="1466339"/>
          <a:ext cx="5173980" cy="619920"/>
        </a:xfrm>
        <a:prstGeom prst="roundRect">
          <a:avLst/>
        </a:prstGeom>
        <a:solidFill>
          <a:schemeClr val="accent6">
            <a:alpha val="2400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50800" dist="38100" dir="5400000" algn="t" rotWithShape="0">
            <a:prstClr val="black">
              <a:alpha val="40000"/>
            </a:prstClr>
          </a:outerShdw>
        </a:effectLst>
        <a:scene3d>
          <a:camera prst="perspectiveFront"/>
          <a:lightRig rig="threePt" dir="t"/>
        </a:scene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5564" tIns="0" rIns="195564" bIns="0" numCol="1" spcCol="1270" anchor="ctr" anchorCtr="0">
          <a:noAutofit/>
        </a:bodyPr>
        <a:lstStyle/>
        <a:p>
          <a:pPr lvl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100" kern="1200" dirty="0"/>
            <a:t>Validations in Financial Accounting	</a:t>
          </a:r>
        </a:p>
      </dsp:txBody>
      <dsp:txXfrm>
        <a:off x="369570" y="1466339"/>
        <a:ext cx="5173980" cy="619920"/>
      </dsp:txXfrm>
    </dsp:sp>
    <dsp:sp modelId="{0B15E5D7-78A0-46A8-B805-14B307C3929F}">
      <dsp:nvSpPr>
        <dsp:cNvPr id="0" name=""/>
        <dsp:cNvSpPr/>
      </dsp:nvSpPr>
      <dsp:spPr>
        <a:xfrm>
          <a:off x="0" y="2728860"/>
          <a:ext cx="7391400" cy="5292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08892F6-9082-488F-A32B-06D8AF648161}">
      <dsp:nvSpPr>
        <dsp:cNvPr id="0" name=""/>
        <dsp:cNvSpPr/>
      </dsp:nvSpPr>
      <dsp:spPr>
        <a:xfrm>
          <a:off x="369570" y="2418900"/>
          <a:ext cx="5173980" cy="619920"/>
        </a:xfrm>
        <a:prstGeom prst="roundRect">
          <a:avLst/>
        </a:prstGeom>
        <a:solidFill>
          <a:schemeClr val="accent6">
            <a:alpha val="2400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50800" dist="38100" dir="5400000" algn="t" rotWithShape="0">
            <a:prstClr val="black">
              <a:alpha val="40000"/>
            </a:prstClr>
          </a:outerShdw>
        </a:effectLst>
        <a:scene3d>
          <a:camera prst="perspectiveFront"/>
          <a:lightRig rig="threePt" dir="t"/>
        </a:scene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5564" tIns="0" rIns="195564" bIns="0" numCol="1" spcCol="1270" anchor="ctr" anchorCtr="0">
          <a:noAutofit/>
        </a:bodyPr>
        <a:lstStyle/>
        <a:p>
          <a:pPr lvl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100" kern="1200" dirty="0"/>
            <a:t>Substitutions in Financial Accounting</a:t>
          </a:r>
        </a:p>
      </dsp:txBody>
      <dsp:txXfrm>
        <a:off x="369570" y="2418900"/>
        <a:ext cx="5173980" cy="619920"/>
      </dsp:txXfrm>
    </dsp:sp>
    <dsp:sp modelId="{E4831231-EA6F-485D-A4BA-3A5CF0E78F22}">
      <dsp:nvSpPr>
        <dsp:cNvPr id="0" name=""/>
        <dsp:cNvSpPr/>
      </dsp:nvSpPr>
      <dsp:spPr>
        <a:xfrm>
          <a:off x="0" y="3681420"/>
          <a:ext cx="7391400" cy="5292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A734AB2-47DC-430A-AF94-79125E632AC1}">
      <dsp:nvSpPr>
        <dsp:cNvPr id="0" name=""/>
        <dsp:cNvSpPr/>
      </dsp:nvSpPr>
      <dsp:spPr>
        <a:xfrm>
          <a:off x="369570" y="3371460"/>
          <a:ext cx="5173980" cy="619920"/>
        </a:xfrm>
        <a:prstGeom prst="roundRect">
          <a:avLst/>
        </a:prstGeom>
        <a:solidFill>
          <a:schemeClr val="accent6"/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50800" dist="38100" dir="5400000" algn="t" rotWithShape="0">
            <a:prstClr val="black">
              <a:alpha val="40000"/>
            </a:prstClr>
          </a:outerShdw>
        </a:effectLst>
        <a:scene3d>
          <a:camera prst="perspectiveFront"/>
          <a:lightRig rig="threePt" dir="t"/>
        </a:scene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5564" tIns="0" rIns="195564" bIns="0" numCol="1" spcCol="1270" anchor="ctr" anchorCtr="0">
          <a:noAutofit/>
        </a:bodyPr>
        <a:lstStyle/>
        <a:p>
          <a:pPr lvl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100" kern="1200" dirty="0"/>
            <a:t>Rules and Sets</a:t>
          </a:r>
        </a:p>
      </dsp:txBody>
      <dsp:txXfrm>
        <a:off x="369570" y="3371460"/>
        <a:ext cx="5173980" cy="619920"/>
      </dsp:txXfrm>
    </dsp:sp>
  </dsp:spTree>
</dsp:drawing>
</file>

<file path=ppt/diagrams/drawing6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5F53CB04-4BA6-45BA-AB34-5182AB6C8324}">
      <dsp:nvSpPr>
        <dsp:cNvPr id="0" name=""/>
        <dsp:cNvSpPr/>
      </dsp:nvSpPr>
      <dsp:spPr>
        <a:xfrm>
          <a:off x="2994" y="59738"/>
          <a:ext cx="2811026" cy="721228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63000"/>
              </a:schemeClr>
            </a:gs>
            <a:gs pos="30000">
              <a:schemeClr val="accent4">
                <a:hueOff val="0"/>
                <a:satOff val="0"/>
                <a:lumOff val="0"/>
                <a:alphaOff val="0"/>
                <a:shade val="90000"/>
                <a:satMod val="110000"/>
              </a:schemeClr>
            </a:gs>
            <a:gs pos="45000">
              <a:schemeClr val="accent4">
                <a:hueOff val="0"/>
                <a:satOff val="0"/>
                <a:lumOff val="0"/>
                <a:alphaOff val="0"/>
                <a:shade val="100000"/>
                <a:satMod val="118000"/>
              </a:schemeClr>
            </a:gs>
            <a:gs pos="55000">
              <a:schemeClr val="accent4">
                <a:hueOff val="0"/>
                <a:satOff val="0"/>
                <a:lumOff val="0"/>
                <a:alphaOff val="0"/>
                <a:shade val="100000"/>
                <a:satMod val="118000"/>
              </a:schemeClr>
            </a:gs>
            <a:gs pos="73000">
              <a:schemeClr val="accent4">
                <a:hueOff val="0"/>
                <a:satOff val="0"/>
                <a:lumOff val="0"/>
                <a:alphaOff val="0"/>
                <a:shade val="90000"/>
                <a:satMod val="11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63000"/>
              </a:schemeClr>
            </a:gs>
          </a:gsLst>
          <a:lin ang="950000" scaled="1"/>
        </a:gradFill>
        <a:ln w="9525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50800" dist="43000" dir="5400000" rotWithShape="0">
            <a:srgbClr val="000000">
              <a:alpha val="40000"/>
            </a:srgbClr>
          </a:outerShdw>
        </a:effectLst>
        <a:scene3d>
          <a:camera prst="orthographicFront" fov="0">
            <a:rot lat="0" lon="0" rev="0"/>
          </a:camera>
          <a:lightRig rig="balanced" dir="t">
            <a:rot lat="0" lon="0" rev="0"/>
          </a:lightRig>
        </a:scene3d>
        <a:sp3d prstMaterial="matte">
          <a:bevelT w="0" h="0"/>
          <a:contourClr>
            <a:schemeClr val="accent4">
              <a:hueOff val="0"/>
              <a:satOff val="0"/>
              <a:lumOff val="0"/>
              <a:alphaOff val="0"/>
              <a:tint val="100000"/>
              <a:shade val="100000"/>
              <a:hueMod val="100000"/>
              <a:satMod val="100000"/>
            </a:schemeClr>
          </a:contourClr>
        </a:sp3d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28016" tIns="73152" rIns="128016" bIns="73152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/>
            <a:t>USER GROUP</a:t>
          </a:r>
        </a:p>
      </dsp:txBody>
      <dsp:txXfrm>
        <a:off x="2994" y="59738"/>
        <a:ext cx="2811026" cy="721228"/>
      </dsp:txXfrm>
    </dsp:sp>
    <dsp:sp modelId="{720DDC29-0E86-4920-9290-611148E9C721}">
      <dsp:nvSpPr>
        <dsp:cNvPr id="0" name=""/>
        <dsp:cNvSpPr/>
      </dsp:nvSpPr>
      <dsp:spPr>
        <a:xfrm>
          <a:off x="9374" y="723981"/>
          <a:ext cx="2798266" cy="1273680"/>
        </a:xfrm>
        <a:prstGeom prst="rect">
          <a:avLst/>
        </a:prstGeom>
        <a:solidFill>
          <a:schemeClr val="accent4">
            <a:alpha val="90000"/>
            <a:tint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4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5344" tIns="85344" rIns="113792" bIns="128016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600" kern="1200" dirty="0"/>
            <a:t>001 – RAVI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600" kern="1200" dirty="0"/>
            <a:t>002 – HARI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600" kern="1200" dirty="0"/>
            <a:t>003 – GIRI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600" kern="1200" dirty="0"/>
            <a:t>004 - SURI</a:t>
          </a:r>
        </a:p>
      </dsp:txBody>
      <dsp:txXfrm>
        <a:off x="9374" y="723981"/>
        <a:ext cx="2798266" cy="1273680"/>
      </dsp:txXfrm>
    </dsp:sp>
    <dsp:sp modelId="{164C01CA-CF9F-4E97-85B4-785FECA7EE30}">
      <dsp:nvSpPr>
        <dsp:cNvPr id="0" name=""/>
        <dsp:cNvSpPr/>
      </dsp:nvSpPr>
      <dsp:spPr>
        <a:xfrm>
          <a:off x="3205778" y="59738"/>
          <a:ext cx="2811026" cy="721228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63000"/>
              </a:schemeClr>
            </a:gs>
            <a:gs pos="30000">
              <a:schemeClr val="accent4">
                <a:hueOff val="0"/>
                <a:satOff val="0"/>
                <a:lumOff val="0"/>
                <a:alphaOff val="0"/>
                <a:shade val="90000"/>
                <a:satMod val="110000"/>
              </a:schemeClr>
            </a:gs>
            <a:gs pos="45000">
              <a:schemeClr val="accent4">
                <a:hueOff val="0"/>
                <a:satOff val="0"/>
                <a:lumOff val="0"/>
                <a:alphaOff val="0"/>
                <a:shade val="100000"/>
                <a:satMod val="118000"/>
              </a:schemeClr>
            </a:gs>
            <a:gs pos="55000">
              <a:schemeClr val="accent4">
                <a:hueOff val="0"/>
                <a:satOff val="0"/>
                <a:lumOff val="0"/>
                <a:alphaOff val="0"/>
                <a:shade val="100000"/>
                <a:satMod val="118000"/>
              </a:schemeClr>
            </a:gs>
            <a:gs pos="73000">
              <a:schemeClr val="accent4">
                <a:hueOff val="0"/>
                <a:satOff val="0"/>
                <a:lumOff val="0"/>
                <a:alphaOff val="0"/>
                <a:shade val="90000"/>
                <a:satMod val="11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63000"/>
              </a:schemeClr>
            </a:gs>
          </a:gsLst>
          <a:lin ang="950000" scaled="1"/>
        </a:gradFill>
        <a:ln w="9525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50800" dist="43000" dir="5400000" rotWithShape="0">
            <a:srgbClr val="000000">
              <a:alpha val="40000"/>
            </a:srgbClr>
          </a:outerShdw>
        </a:effectLst>
        <a:scene3d>
          <a:camera prst="orthographicFront" fov="0">
            <a:rot lat="0" lon="0" rev="0"/>
          </a:camera>
          <a:lightRig rig="balanced" dir="t">
            <a:rot lat="0" lon="0" rev="0"/>
          </a:lightRig>
        </a:scene3d>
        <a:sp3d prstMaterial="matte">
          <a:bevelT w="0" h="0"/>
          <a:contourClr>
            <a:schemeClr val="accent4">
              <a:hueOff val="0"/>
              <a:satOff val="0"/>
              <a:lumOff val="0"/>
              <a:alphaOff val="0"/>
              <a:tint val="100000"/>
              <a:shade val="100000"/>
              <a:hueMod val="100000"/>
              <a:satMod val="100000"/>
            </a:schemeClr>
          </a:contourClr>
        </a:sp3d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28016" tIns="73152" rIns="128016" bIns="73152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/>
            <a:t>ACCOUNT MANAGEMENT</a:t>
          </a:r>
        </a:p>
      </dsp:txBody>
      <dsp:txXfrm>
        <a:off x="3205778" y="59738"/>
        <a:ext cx="2811026" cy="721228"/>
      </dsp:txXfrm>
    </dsp:sp>
    <dsp:sp modelId="{C465D861-75DE-4010-B043-C4C74D22270E}">
      <dsp:nvSpPr>
        <dsp:cNvPr id="0" name=""/>
        <dsp:cNvSpPr/>
      </dsp:nvSpPr>
      <dsp:spPr>
        <a:xfrm>
          <a:off x="3212158" y="723981"/>
          <a:ext cx="2798266" cy="1273680"/>
        </a:xfrm>
        <a:prstGeom prst="rect">
          <a:avLst/>
        </a:prstGeom>
        <a:solidFill>
          <a:schemeClr val="accent4">
            <a:alpha val="90000"/>
            <a:tint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4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5344" tIns="85344" rIns="113792" bIns="128016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600" kern="1200" dirty="0"/>
            <a:t>001 – 43000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600" kern="1200" dirty="0"/>
            <a:t>002 – 43200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600" kern="1200" dirty="0"/>
            <a:t>003 – 43300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600" kern="1200" dirty="0"/>
            <a:t>004 - 43400</a:t>
          </a:r>
        </a:p>
      </dsp:txBody>
      <dsp:txXfrm>
        <a:off x="3212158" y="723981"/>
        <a:ext cx="2798266" cy="1273680"/>
      </dsp:txXfrm>
    </dsp:sp>
  </dsp:spTree>
</dsp:drawing>
</file>

<file path=ppt/diagrams/drawing7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52C40264-A45E-4335-A2B2-85E03F0E95EE}">
      <dsp:nvSpPr>
        <dsp:cNvPr id="0" name=""/>
        <dsp:cNvSpPr/>
      </dsp:nvSpPr>
      <dsp:spPr>
        <a:xfrm>
          <a:off x="0" y="4014"/>
          <a:ext cx="7315200" cy="431730"/>
        </a:xfrm>
        <a:prstGeom prst="roundRect">
          <a:avLst/>
        </a:prstGeom>
        <a:solidFill>
          <a:schemeClr val="accent6">
            <a:lumMod val="20000"/>
            <a:lumOff val="8000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l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u="sng" kern="1200" dirty="0">
              <a:solidFill>
                <a:schemeClr val="tx1"/>
              </a:solidFill>
            </a:rPr>
            <a:t>Prerequisite:</a:t>
          </a:r>
          <a:r>
            <a:rPr lang="en-US" sz="1800" u="none" kern="1200" dirty="0">
              <a:solidFill>
                <a:schemeClr val="tx1"/>
              </a:solidFill>
            </a:rPr>
            <a:t>    </a:t>
          </a:r>
          <a:r>
            <a:rPr lang="en-US" sz="1800" kern="1200" dirty="0">
              <a:solidFill>
                <a:schemeClr val="tx1"/>
              </a:solidFill>
            </a:rPr>
            <a:t>BKPF-USNAM    in   USER GROUP</a:t>
          </a:r>
        </a:p>
      </dsp:txBody>
      <dsp:txXfrm>
        <a:off x="0" y="4014"/>
        <a:ext cx="7315200" cy="431730"/>
      </dsp:txXfrm>
    </dsp:sp>
    <dsp:sp modelId="{441A25A9-C664-41D7-B7D2-08CEDB4E3005}">
      <dsp:nvSpPr>
        <dsp:cNvPr id="0" name=""/>
        <dsp:cNvSpPr/>
      </dsp:nvSpPr>
      <dsp:spPr>
        <a:xfrm>
          <a:off x="0" y="487585"/>
          <a:ext cx="7315200" cy="431730"/>
        </a:xfrm>
        <a:prstGeom prst="roundRect">
          <a:avLst/>
        </a:prstGeom>
        <a:solidFill>
          <a:schemeClr val="accent6">
            <a:lumMod val="20000"/>
            <a:lumOff val="8000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l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u="sng" kern="1200" dirty="0">
              <a:solidFill>
                <a:schemeClr val="tx1"/>
              </a:solidFill>
            </a:rPr>
            <a:t>Check: </a:t>
          </a:r>
          <a:r>
            <a:rPr lang="en-US" sz="1800" u="none" kern="1200" dirty="0">
              <a:solidFill>
                <a:schemeClr val="tx1"/>
              </a:solidFill>
            </a:rPr>
            <a:t>           </a:t>
          </a:r>
          <a:r>
            <a:rPr lang="en-US" sz="1800" kern="1200" dirty="0">
              <a:solidFill>
                <a:schemeClr val="tx1"/>
              </a:solidFill>
            </a:rPr>
            <a:t>BSEG-HKONT    in   ACCOUNT MANAGEMENT</a:t>
          </a:r>
        </a:p>
      </dsp:txBody>
      <dsp:txXfrm>
        <a:off x="0" y="487585"/>
        <a:ext cx="7315200" cy="43173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2C5A4BD3-AAC3-4CD2-B4B6-2F28D8C83A94}" type="datetimeFigureOut">
              <a:rPr lang="en-US"/>
              <a:pPr>
                <a:defRPr/>
              </a:pPr>
              <a:t>2/28/2018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US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1EFC7F60-379B-4E4A-AD68-849F5E8F1CFC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Rectangle 9"/>
          <p:cNvSpPr>
            <a:spLocks noGrp="1" noChangeArrowheads="1"/>
          </p:cNvSpPr>
          <p:nvPr>
            <p:ph type="ftr" sz="quarter" idx="4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dirty="0"/>
              <a:t>© 2006 Capgemini - All rights reserved</a:t>
            </a:r>
          </a:p>
        </p:txBody>
      </p:sp>
      <p:sp>
        <p:nvSpPr>
          <p:cNvPr id="95235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1143000" y="685800"/>
            <a:ext cx="4572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95236" name="Rectangle 3"/>
          <p:cNvSpPr>
            <a:spLocks noGrp="1" noChangeArrowheads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dirty="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EFC7F60-379B-4E4A-AD68-849F5E8F1CFC}" type="slidenum">
              <a:rPr lang="en-US" smtClean="0"/>
              <a:pPr>
                <a:defRPr/>
              </a:pPr>
              <a:t>22</a:t>
            </a:fld>
            <a:endParaRPr lang="en-US" dirty="0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dirty="0"/>
              <a:t>As</a:t>
            </a:r>
            <a:r>
              <a:rPr lang="en-US" baseline="0" dirty="0"/>
              <a:t> like Validations, if the Substitution is complex nature, we can meet the object by using the User Exit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EFC7F60-379B-4E4A-AD68-849F5E8F1CFC}" type="slidenum">
              <a:rPr lang="en-US" smtClean="0"/>
              <a:pPr>
                <a:defRPr/>
              </a:pPr>
              <a:t>27</a:t>
            </a:fld>
            <a:endParaRPr lang="en-US" dirty="0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dirty="0"/>
              <a:t>As</a:t>
            </a:r>
            <a:r>
              <a:rPr lang="en-US" baseline="0" dirty="0"/>
              <a:t> like Validations, if the Substitution is complex nature, we can meet the object by using the User Exit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EFC7F60-379B-4E4A-AD68-849F5E8F1CFC}" type="slidenum">
              <a:rPr lang="en-US" smtClean="0"/>
              <a:pPr>
                <a:defRPr/>
              </a:pPr>
              <a:t>28</a:t>
            </a:fld>
            <a:endParaRPr lang="en-US" dirty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EFC7F60-379B-4E4A-AD68-849F5E8F1CFC}" type="slidenum">
              <a:rPr lang="en-US" smtClean="0"/>
              <a:pPr>
                <a:defRPr/>
              </a:pPr>
              <a:t>5</a:t>
            </a:fld>
            <a:endParaRPr lang="en-US" dirty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>
              <a:buNone/>
            </a:pPr>
            <a:r>
              <a:rPr lang="en-US" sz="1200" dirty="0"/>
              <a:t>The Explanation of the table GB01 and there contains as follow.</a:t>
            </a:r>
          </a:p>
          <a:p>
            <a:pPr>
              <a:buNone/>
            </a:pPr>
            <a:r>
              <a:rPr lang="en-US" sz="1200" dirty="0"/>
              <a:t>Bool Class: The Boolean Classes Specifies where the filed is being used or is Excluded.</a:t>
            </a:r>
          </a:p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lass Rules: Defines whether this field is used for field Read or field Write.  Write is used in substitution, read for rules.</a:t>
            </a:r>
          </a:p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able name that can be used in this class. Name of a table that belongs to this class</a:t>
            </a:r>
          </a:p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ield that belongs to this class Name of a field that belongs to this class.</a:t>
            </a:r>
          </a:p>
          <a:p>
            <a:endParaRPr lang="en-US" sz="1200" i="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sz="1200" i="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>
              <a:buNone/>
            </a:pPr>
            <a:r>
              <a:rPr lang="en-US" sz="1200" dirty="0"/>
              <a:t> 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EFC7F60-379B-4E4A-AD68-849F5E8F1CFC}" type="slidenum">
              <a:rPr lang="en-US" smtClean="0"/>
              <a:pPr>
                <a:defRPr/>
              </a:pPr>
              <a:t>11</a:t>
            </a:fld>
            <a:endParaRPr lang="en-US" dirty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EFC7F60-379B-4E4A-AD68-849F5E8F1CFC}" type="slidenum">
              <a:rPr lang="en-US" smtClean="0"/>
              <a:pPr>
                <a:defRPr/>
              </a:pPr>
              <a:t>12</a:t>
            </a:fld>
            <a:endParaRPr lang="en-US" dirty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EFC7F60-379B-4E4A-AD68-849F5E8F1CFC}" type="slidenum">
              <a:rPr lang="en-US" smtClean="0"/>
              <a:pPr>
                <a:defRPr/>
              </a:pPr>
              <a:t>17</a:t>
            </a:fld>
            <a:endParaRPr lang="en-US" dirty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System</a:t>
            </a:r>
            <a:r>
              <a:rPr lang="en-US" baseline="0" dirty="0"/>
              <a:t> will check, If the General Ledger Account Number: </a:t>
            </a:r>
            <a:r>
              <a: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“</a:t>
            </a:r>
            <a:r>
              <a:rPr lang="en-US" sz="12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0010002801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”,</a:t>
            </a:r>
            <a:r>
              <a: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Document type should be “</a:t>
            </a:r>
            <a:r>
              <a:rPr lang="en-US" sz="1200" b="1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EC</a:t>
            </a:r>
            <a:r>
              <a: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”. If not system will through the Error message as shown above – “</a:t>
            </a:r>
            <a:r>
              <a:rPr lang="en-US" sz="1200" b="1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You MUST use document type EC with Euro-control transactions!</a:t>
            </a:r>
            <a:r>
              <a: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”.</a:t>
            </a:r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EFC7F60-379B-4E4A-AD68-849F5E8F1CFC}" type="slidenum">
              <a:rPr lang="en-US" smtClean="0"/>
              <a:pPr>
                <a:defRPr/>
              </a:pPr>
              <a:t>18</a:t>
            </a:fld>
            <a:endParaRPr lang="en-US" dirty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System</a:t>
            </a:r>
            <a:r>
              <a:rPr lang="en-US" baseline="0" dirty="0"/>
              <a:t> will check, If the General Ledger Account Number: </a:t>
            </a:r>
            <a:r>
              <a: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“</a:t>
            </a:r>
            <a:r>
              <a:rPr lang="en-US" sz="12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0010002801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”,</a:t>
            </a:r>
            <a:r>
              <a: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Document type should be “</a:t>
            </a:r>
            <a:r>
              <a:rPr lang="en-US" sz="1200" b="1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EC</a:t>
            </a:r>
            <a:r>
              <a: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”. If not system will through the Error message as shown above – “</a:t>
            </a:r>
            <a:r>
              <a:rPr lang="en-US" sz="1200" b="1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You MUST use document type EC with Euro-control transactions!</a:t>
            </a:r>
            <a:r>
              <a: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”.</a:t>
            </a:r>
          </a:p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EFC7F60-379B-4E4A-AD68-849F5E8F1CFC}" type="slidenum">
              <a:rPr lang="en-US" smtClean="0"/>
              <a:pPr>
                <a:defRPr/>
              </a:pPr>
              <a:t>19</a:t>
            </a:fld>
            <a:endParaRPr lang="en-US" dirty="0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System</a:t>
            </a:r>
            <a:r>
              <a:rPr lang="en-US" baseline="0" dirty="0"/>
              <a:t> will check, If the General Ledger Account Number: </a:t>
            </a:r>
            <a:r>
              <a: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“</a:t>
            </a:r>
            <a:r>
              <a:rPr lang="en-US" sz="12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0010002801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”,</a:t>
            </a:r>
            <a:r>
              <a: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Document type should be “</a:t>
            </a:r>
            <a:r>
              <a:rPr lang="en-US" sz="1200" b="1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EC</a:t>
            </a:r>
            <a:r>
              <a: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”. If not system will through the Error message as shown above – “</a:t>
            </a:r>
            <a:r>
              <a:rPr lang="en-US" sz="1200" b="1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You MUST use document type EC with Euro-control transactions!</a:t>
            </a:r>
            <a:r>
              <a: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”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EFC7F60-379B-4E4A-AD68-849F5E8F1CFC}" type="slidenum">
              <a:rPr lang="en-US" smtClean="0"/>
              <a:pPr>
                <a:defRPr/>
              </a:pPr>
              <a:t>20</a:t>
            </a:fld>
            <a:endParaRPr lang="en-US" dirty="0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EFC7F60-379B-4E4A-AD68-849F5E8F1CFC}" type="slidenum">
              <a:rPr lang="en-US" smtClean="0"/>
              <a:pPr>
                <a:defRPr/>
              </a:pPr>
              <a:t>21</a:t>
            </a:fld>
            <a:endParaRPr lang="en-US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2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wmf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png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6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5E0FC09-3FE0-498C-B1FB-ACB9E71B3F4A}" type="datetime1">
              <a:rPr lang="en-US"/>
              <a:pPr>
                <a:defRPr/>
              </a:pPr>
              <a:t>2/28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F8264B7-B377-4689-94F7-512573410020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2090EC2-19A6-4A6A-9040-558FCD358C0B}" type="datetime1">
              <a:rPr lang="en-US"/>
              <a:pPr>
                <a:defRPr/>
              </a:pPr>
              <a:t>2/28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1D3E522-BEC1-43E6-A922-BE1D021EA2B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9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9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1E95D10-FB3B-4C65-B6A0-64573E16B25D}" type="datetime1">
              <a:rPr lang="en-US"/>
              <a:pPr>
                <a:defRPr/>
              </a:pPr>
              <a:t>2/28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08758F6-4D93-4C95-A9D6-5BE5B54FAD2C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79"/>
          <p:cNvSpPr>
            <a:spLocks/>
          </p:cNvSpPr>
          <p:nvPr/>
        </p:nvSpPr>
        <p:spPr bwMode="auto">
          <a:xfrm>
            <a:off x="0" y="0"/>
            <a:ext cx="9144000" cy="6858000"/>
          </a:xfrm>
          <a:custGeom>
            <a:avLst/>
            <a:gdLst/>
            <a:ahLst/>
            <a:cxnLst>
              <a:cxn ang="0">
                <a:pos x="624" y="3322"/>
              </a:cxn>
              <a:cxn ang="0">
                <a:pos x="715" y="3246"/>
              </a:cxn>
              <a:cxn ang="0">
                <a:pos x="805" y="3175"/>
              </a:cxn>
              <a:cxn ang="0">
                <a:pos x="898" y="3111"/>
              </a:cxn>
              <a:cxn ang="0">
                <a:pos x="993" y="3049"/>
              </a:cxn>
              <a:cxn ang="0">
                <a:pos x="1089" y="2993"/>
              </a:cxn>
              <a:cxn ang="0">
                <a:pos x="1285" y="2893"/>
              </a:cxn>
              <a:cxn ang="0">
                <a:pos x="1485" y="2806"/>
              </a:cxn>
              <a:cxn ang="0">
                <a:pos x="1693" y="2729"/>
              </a:cxn>
              <a:cxn ang="0">
                <a:pos x="1904" y="2662"/>
              </a:cxn>
              <a:cxn ang="0">
                <a:pos x="2118" y="2600"/>
              </a:cxn>
              <a:cxn ang="0">
                <a:pos x="2229" y="2571"/>
              </a:cxn>
              <a:cxn ang="0">
                <a:pos x="2475" y="2511"/>
              </a:cxn>
              <a:cxn ang="0">
                <a:pos x="2720" y="2456"/>
              </a:cxn>
              <a:cxn ang="0">
                <a:pos x="3205" y="2358"/>
              </a:cxn>
              <a:cxn ang="0">
                <a:pos x="3198" y="2358"/>
              </a:cxn>
              <a:cxn ang="0">
                <a:pos x="3929" y="2202"/>
              </a:cxn>
              <a:cxn ang="0">
                <a:pos x="4229" y="2129"/>
              </a:cxn>
              <a:cxn ang="0">
                <a:pos x="4409" y="2078"/>
              </a:cxn>
              <a:cxn ang="0">
                <a:pos x="4573" y="2025"/>
              </a:cxn>
              <a:cxn ang="0">
                <a:pos x="4725" y="1967"/>
              </a:cxn>
              <a:cxn ang="0">
                <a:pos x="4867" y="1902"/>
              </a:cxn>
              <a:cxn ang="0">
                <a:pos x="5000" y="1829"/>
              </a:cxn>
              <a:cxn ang="0">
                <a:pos x="5125" y="1745"/>
              </a:cxn>
              <a:cxn ang="0">
                <a:pos x="5245" y="1651"/>
              </a:cxn>
              <a:cxn ang="0">
                <a:pos x="5362" y="1542"/>
              </a:cxn>
              <a:cxn ang="0">
                <a:pos x="5475" y="1420"/>
              </a:cxn>
              <a:cxn ang="0">
                <a:pos x="5587" y="1280"/>
              </a:cxn>
              <a:cxn ang="0">
                <a:pos x="5702" y="1122"/>
              </a:cxn>
              <a:cxn ang="0">
                <a:pos x="5760" y="0"/>
              </a:cxn>
              <a:cxn ang="0">
                <a:pos x="0" y="4451"/>
              </a:cxn>
              <a:cxn ang="0">
                <a:pos x="20" y="4451"/>
              </a:cxn>
              <a:cxn ang="0">
                <a:pos x="55" y="4278"/>
              </a:cxn>
              <a:cxn ang="0">
                <a:pos x="102" y="4111"/>
              </a:cxn>
              <a:cxn ang="0">
                <a:pos x="124" y="4053"/>
              </a:cxn>
              <a:cxn ang="0">
                <a:pos x="169" y="3944"/>
              </a:cxn>
              <a:cxn ang="0">
                <a:pos x="220" y="3836"/>
              </a:cxn>
              <a:cxn ang="0">
                <a:pos x="278" y="3735"/>
              </a:cxn>
              <a:cxn ang="0">
                <a:pos x="342" y="3635"/>
              </a:cxn>
              <a:cxn ang="0">
                <a:pos x="415" y="3540"/>
              </a:cxn>
              <a:cxn ang="0">
                <a:pos x="493" y="3449"/>
              </a:cxn>
              <a:cxn ang="0">
                <a:pos x="578" y="3364"/>
              </a:cxn>
              <a:cxn ang="0">
                <a:pos x="624" y="3322"/>
              </a:cxn>
            </a:cxnLst>
            <a:rect l="0" t="0" r="r" b="b"/>
            <a:pathLst>
              <a:path w="5760" h="4451">
                <a:moveTo>
                  <a:pt x="624" y="3322"/>
                </a:moveTo>
                <a:lnTo>
                  <a:pt x="624" y="3322"/>
                </a:lnTo>
                <a:lnTo>
                  <a:pt x="669" y="3284"/>
                </a:lnTo>
                <a:lnTo>
                  <a:pt x="715" y="3246"/>
                </a:lnTo>
                <a:lnTo>
                  <a:pt x="760" y="3209"/>
                </a:lnTo>
                <a:lnTo>
                  <a:pt x="805" y="3175"/>
                </a:lnTo>
                <a:lnTo>
                  <a:pt x="853" y="3142"/>
                </a:lnTo>
                <a:lnTo>
                  <a:pt x="898" y="3111"/>
                </a:lnTo>
                <a:lnTo>
                  <a:pt x="945" y="3080"/>
                </a:lnTo>
                <a:lnTo>
                  <a:pt x="993" y="3049"/>
                </a:lnTo>
                <a:lnTo>
                  <a:pt x="1042" y="3020"/>
                </a:lnTo>
                <a:lnTo>
                  <a:pt x="1089" y="2993"/>
                </a:lnTo>
                <a:lnTo>
                  <a:pt x="1185" y="2940"/>
                </a:lnTo>
                <a:lnTo>
                  <a:pt x="1285" y="2893"/>
                </a:lnTo>
                <a:lnTo>
                  <a:pt x="1385" y="2847"/>
                </a:lnTo>
                <a:lnTo>
                  <a:pt x="1485" y="2806"/>
                </a:lnTo>
                <a:lnTo>
                  <a:pt x="1589" y="2766"/>
                </a:lnTo>
                <a:lnTo>
                  <a:pt x="1693" y="2729"/>
                </a:lnTo>
                <a:lnTo>
                  <a:pt x="1798" y="2695"/>
                </a:lnTo>
                <a:lnTo>
                  <a:pt x="1904" y="2662"/>
                </a:lnTo>
                <a:lnTo>
                  <a:pt x="2011" y="2631"/>
                </a:lnTo>
                <a:lnTo>
                  <a:pt x="2118" y="2600"/>
                </a:lnTo>
                <a:lnTo>
                  <a:pt x="2229" y="2571"/>
                </a:lnTo>
                <a:lnTo>
                  <a:pt x="2229" y="2571"/>
                </a:lnTo>
                <a:lnTo>
                  <a:pt x="2351" y="2540"/>
                </a:lnTo>
                <a:lnTo>
                  <a:pt x="2475" y="2511"/>
                </a:lnTo>
                <a:lnTo>
                  <a:pt x="2596" y="2482"/>
                </a:lnTo>
                <a:lnTo>
                  <a:pt x="2720" y="2456"/>
                </a:lnTo>
                <a:lnTo>
                  <a:pt x="2964" y="2406"/>
                </a:lnTo>
                <a:lnTo>
                  <a:pt x="3205" y="2358"/>
                </a:lnTo>
                <a:lnTo>
                  <a:pt x="3198" y="2358"/>
                </a:lnTo>
                <a:lnTo>
                  <a:pt x="3198" y="2358"/>
                </a:lnTo>
                <a:lnTo>
                  <a:pt x="3705" y="2251"/>
                </a:lnTo>
                <a:lnTo>
                  <a:pt x="3929" y="2202"/>
                </a:lnTo>
                <a:lnTo>
                  <a:pt x="4133" y="2155"/>
                </a:lnTo>
                <a:lnTo>
                  <a:pt x="4229" y="2129"/>
                </a:lnTo>
                <a:lnTo>
                  <a:pt x="4320" y="2104"/>
                </a:lnTo>
                <a:lnTo>
                  <a:pt x="4409" y="2078"/>
                </a:lnTo>
                <a:lnTo>
                  <a:pt x="4493" y="2053"/>
                </a:lnTo>
                <a:lnTo>
                  <a:pt x="4573" y="2025"/>
                </a:lnTo>
                <a:lnTo>
                  <a:pt x="4651" y="1996"/>
                </a:lnTo>
                <a:lnTo>
                  <a:pt x="4725" y="1967"/>
                </a:lnTo>
                <a:lnTo>
                  <a:pt x="4798" y="1935"/>
                </a:lnTo>
                <a:lnTo>
                  <a:pt x="4867" y="1902"/>
                </a:lnTo>
                <a:lnTo>
                  <a:pt x="4935" y="1865"/>
                </a:lnTo>
                <a:lnTo>
                  <a:pt x="5000" y="1829"/>
                </a:lnTo>
                <a:lnTo>
                  <a:pt x="5064" y="1789"/>
                </a:lnTo>
                <a:lnTo>
                  <a:pt x="5125" y="1745"/>
                </a:lnTo>
                <a:lnTo>
                  <a:pt x="5187" y="1700"/>
                </a:lnTo>
                <a:lnTo>
                  <a:pt x="5245" y="1651"/>
                </a:lnTo>
                <a:lnTo>
                  <a:pt x="5304" y="1598"/>
                </a:lnTo>
                <a:lnTo>
                  <a:pt x="5362" y="1542"/>
                </a:lnTo>
                <a:lnTo>
                  <a:pt x="5418" y="1484"/>
                </a:lnTo>
                <a:lnTo>
                  <a:pt x="5475" y="1420"/>
                </a:lnTo>
                <a:lnTo>
                  <a:pt x="5531" y="1351"/>
                </a:lnTo>
                <a:lnTo>
                  <a:pt x="5587" y="1280"/>
                </a:lnTo>
                <a:lnTo>
                  <a:pt x="5644" y="1204"/>
                </a:lnTo>
                <a:lnTo>
                  <a:pt x="5702" y="1122"/>
                </a:lnTo>
                <a:lnTo>
                  <a:pt x="5760" y="1036"/>
                </a:lnTo>
                <a:lnTo>
                  <a:pt x="5760" y="0"/>
                </a:lnTo>
                <a:lnTo>
                  <a:pt x="0" y="0"/>
                </a:lnTo>
                <a:lnTo>
                  <a:pt x="0" y="4451"/>
                </a:lnTo>
                <a:lnTo>
                  <a:pt x="20" y="4451"/>
                </a:lnTo>
                <a:lnTo>
                  <a:pt x="20" y="4451"/>
                </a:lnTo>
                <a:lnTo>
                  <a:pt x="35" y="4366"/>
                </a:lnTo>
                <a:lnTo>
                  <a:pt x="55" y="4278"/>
                </a:lnTo>
                <a:lnTo>
                  <a:pt x="76" y="4195"/>
                </a:lnTo>
                <a:lnTo>
                  <a:pt x="102" y="4111"/>
                </a:lnTo>
                <a:lnTo>
                  <a:pt x="102" y="4111"/>
                </a:lnTo>
                <a:lnTo>
                  <a:pt x="124" y="4053"/>
                </a:lnTo>
                <a:lnTo>
                  <a:pt x="145" y="3998"/>
                </a:lnTo>
                <a:lnTo>
                  <a:pt x="169" y="3944"/>
                </a:lnTo>
                <a:lnTo>
                  <a:pt x="193" y="3889"/>
                </a:lnTo>
                <a:lnTo>
                  <a:pt x="220" y="3836"/>
                </a:lnTo>
                <a:lnTo>
                  <a:pt x="247" y="3786"/>
                </a:lnTo>
                <a:lnTo>
                  <a:pt x="278" y="3735"/>
                </a:lnTo>
                <a:lnTo>
                  <a:pt x="309" y="3684"/>
                </a:lnTo>
                <a:lnTo>
                  <a:pt x="342" y="3635"/>
                </a:lnTo>
                <a:lnTo>
                  <a:pt x="378" y="3587"/>
                </a:lnTo>
                <a:lnTo>
                  <a:pt x="415" y="3540"/>
                </a:lnTo>
                <a:lnTo>
                  <a:pt x="453" y="3495"/>
                </a:lnTo>
                <a:lnTo>
                  <a:pt x="493" y="3449"/>
                </a:lnTo>
                <a:lnTo>
                  <a:pt x="535" y="3406"/>
                </a:lnTo>
                <a:lnTo>
                  <a:pt x="578" y="3364"/>
                </a:lnTo>
                <a:lnTo>
                  <a:pt x="624" y="3322"/>
                </a:lnTo>
                <a:lnTo>
                  <a:pt x="624" y="3322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+mn-lt"/>
            </a:endParaRPr>
          </a:p>
        </p:txBody>
      </p:sp>
      <p:pic>
        <p:nvPicPr>
          <p:cNvPr id="4" name="Picture 86" descr="Capgemini_cmyk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gray">
          <a:xfrm>
            <a:off x="377826" y="358775"/>
            <a:ext cx="1998663" cy="465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90"/>
          <p:cNvPicPr>
            <a:picLocks noChangeAspect="1" noChangeArrowheads="1"/>
          </p:cNvPicPr>
          <p:nvPr userDrawn="1"/>
        </p:nvPicPr>
        <p:blipFill>
          <a:blip r:embed="rId4" cstate="print"/>
          <a:srcRect b="10919"/>
          <a:stretch>
            <a:fillRect/>
          </a:stretch>
        </p:blipFill>
        <p:spPr bwMode="auto">
          <a:xfrm>
            <a:off x="0" y="2667000"/>
            <a:ext cx="9144000" cy="4191000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</p:pic>
      <p:sp>
        <p:nvSpPr>
          <p:cNvPr id="6" name="Freeform 92"/>
          <p:cNvSpPr>
            <a:spLocks/>
          </p:cNvSpPr>
          <p:nvPr userDrawn="1">
            <p:custDataLst>
              <p:tags r:id="rId1"/>
            </p:custDataLst>
          </p:nvPr>
        </p:nvSpPr>
        <p:spPr bwMode="auto">
          <a:xfrm>
            <a:off x="-3174" y="1881189"/>
            <a:ext cx="9147175" cy="4976812"/>
          </a:xfrm>
          <a:custGeom>
            <a:avLst/>
            <a:gdLst/>
            <a:ahLst/>
            <a:cxnLst>
              <a:cxn ang="0">
                <a:pos x="0" y="3638"/>
              </a:cxn>
              <a:cxn ang="0">
                <a:pos x="516" y="2658"/>
              </a:cxn>
              <a:cxn ang="0">
                <a:pos x="1352" y="2063"/>
              </a:cxn>
              <a:cxn ang="0">
                <a:pos x="3348" y="1519"/>
              </a:cxn>
              <a:cxn ang="0">
                <a:pos x="4987" y="1078"/>
              </a:cxn>
              <a:cxn ang="0">
                <a:pos x="5762" y="534"/>
              </a:cxn>
              <a:cxn ang="0">
                <a:pos x="5762" y="66"/>
              </a:cxn>
              <a:cxn ang="0">
                <a:pos x="4" y="68"/>
              </a:cxn>
            </a:cxnLst>
            <a:rect l="0" t="0" r="r" b="b"/>
            <a:pathLst>
              <a:path w="5762" h="3638">
                <a:moveTo>
                  <a:pt x="0" y="3638"/>
                </a:moveTo>
                <a:cubicBezTo>
                  <a:pt x="58" y="3452"/>
                  <a:pt x="291" y="2920"/>
                  <a:pt x="516" y="2658"/>
                </a:cubicBezTo>
                <a:cubicBezTo>
                  <a:pt x="794" y="2320"/>
                  <a:pt x="1284" y="2093"/>
                  <a:pt x="1352" y="2063"/>
                </a:cubicBezTo>
                <a:cubicBezTo>
                  <a:pt x="1942" y="1786"/>
                  <a:pt x="2872" y="1624"/>
                  <a:pt x="3348" y="1519"/>
                </a:cubicBezTo>
                <a:cubicBezTo>
                  <a:pt x="3895" y="1390"/>
                  <a:pt x="4592" y="1228"/>
                  <a:pt x="4987" y="1078"/>
                </a:cubicBezTo>
                <a:cubicBezTo>
                  <a:pt x="5384" y="933"/>
                  <a:pt x="5632" y="702"/>
                  <a:pt x="5762" y="534"/>
                </a:cubicBezTo>
                <a:cubicBezTo>
                  <a:pt x="5762" y="0"/>
                  <a:pt x="5762" y="61"/>
                  <a:pt x="5762" y="66"/>
                </a:cubicBezTo>
                <a:cubicBezTo>
                  <a:pt x="4803" y="66"/>
                  <a:pt x="1204" y="68"/>
                  <a:pt x="4" y="68"/>
                </a:cubicBezTo>
              </a:path>
            </a:pathLst>
          </a:custGeom>
          <a:solidFill>
            <a:srgbClr val="27134C"/>
          </a:solidFill>
          <a:ln w="19050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+mn-lt"/>
            </a:endParaRPr>
          </a:p>
        </p:txBody>
      </p:sp>
      <p:sp>
        <p:nvSpPr>
          <p:cNvPr id="46090" name="Rectangle 10"/>
          <p:cNvSpPr>
            <a:spLocks noGrp="1" noChangeArrowheads="1"/>
          </p:cNvSpPr>
          <p:nvPr>
            <p:ph type="ctrTitle" sz="quarter"/>
          </p:nvPr>
        </p:nvSpPr>
        <p:spPr>
          <a:xfrm>
            <a:off x="-3175" y="923925"/>
            <a:ext cx="9144000" cy="2467544"/>
          </a:xfrm>
        </p:spPr>
        <p:txBody>
          <a:bodyPr lIns="972000" tIns="360000" rIns="72000" bIns="72000" anchor="t">
            <a:spAutoFit/>
          </a:bodyPr>
          <a:lstStyle>
            <a:lvl1pPr fontAlgn="t">
              <a:lnSpc>
                <a:spcPct val="100000"/>
              </a:lnSpc>
              <a:defRPr>
                <a:latin typeface="Arial" charset="0"/>
              </a:defRPr>
            </a:lvl1pPr>
          </a:lstStyle>
          <a:p>
            <a:r>
              <a:rPr lang="fr-FR" altLang="en-US"/>
              <a:t>Main Title</a:t>
            </a:r>
            <a:br>
              <a:rPr lang="fr-FR" altLang="en-US"/>
            </a:br>
            <a:r>
              <a:rPr lang="fr-FR" altLang="en-US"/>
              <a:t>(Arial narrow, </a:t>
            </a:r>
            <a:r>
              <a:rPr lang="en-US" altLang="en-US"/>
              <a:t>26</a:t>
            </a:r>
            <a:r>
              <a:rPr lang="fr-FR" altLang="en-US"/>
              <a:t>pt -Maximum 2 lines)</a:t>
            </a:r>
            <a:endParaRPr lang="fr-FR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blue space tech"/>
          <p:cNvPicPr>
            <a:picLocks noChangeAspect="1" noChangeArrowheads="1"/>
          </p:cNvPicPr>
          <p:nvPr/>
        </p:nvPicPr>
        <p:blipFill>
          <a:blip r:embed="rId2" cstate="print">
            <a:lum bright="-12000"/>
          </a:blip>
          <a:srcRect r="21249" b="21581"/>
          <a:stretch>
            <a:fillRect/>
          </a:stretch>
        </p:blipFill>
        <p:spPr bwMode="auto">
          <a:xfrm>
            <a:off x="-7939" y="1803400"/>
            <a:ext cx="9151939" cy="5054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3" descr="spade 1"/>
          <p:cNvPicPr>
            <a:picLocks noChangeAspect="1" noChangeArrowheads="1"/>
          </p:cNvPicPr>
          <p:nvPr/>
        </p:nvPicPr>
        <p:blipFill>
          <a:blip r:embed="rId3" cstate="print"/>
          <a:srcRect l="1099" b="8173"/>
          <a:stretch>
            <a:fillRect/>
          </a:stretch>
        </p:blipFill>
        <p:spPr bwMode="auto">
          <a:xfrm>
            <a:off x="0" y="333376"/>
            <a:ext cx="9144000" cy="652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4" descr="Capgemini_cmyk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33400" y="404813"/>
            <a:ext cx="2427288" cy="5635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06853" name="Rectangle 5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515939" y="2692401"/>
            <a:ext cx="4849812" cy="736600"/>
          </a:xfrm>
        </p:spPr>
        <p:txBody>
          <a:bodyPr tIns="108000" rIns="144000"/>
          <a:lstStyle>
            <a:lvl1pPr marL="352425" indent="-352425">
              <a:lnSpc>
                <a:spcPct val="100000"/>
              </a:lnSpc>
              <a:spcBef>
                <a:spcPct val="0"/>
              </a:spcBef>
              <a:buFont typeface="Wingdings 3" pitchFamily="18" charset="2"/>
              <a:buChar char="u"/>
              <a:defRPr>
                <a:solidFill>
                  <a:srgbClr val="333333"/>
                </a:solidFill>
              </a:defRPr>
            </a:lvl1pPr>
          </a:lstStyle>
          <a:p>
            <a:r>
              <a:rPr lang="en-GB" altLang="en-US"/>
              <a:t>Sub-title and/or name (Arial, 18pt – </a:t>
            </a:r>
            <a:br>
              <a:rPr lang="en-GB" altLang="en-US"/>
            </a:br>
            <a:r>
              <a:rPr lang="en-GB" altLang="en-US"/>
              <a:t>maximum 2 lines)</a:t>
            </a:r>
            <a:endParaRPr lang="en-GB"/>
          </a:p>
        </p:txBody>
      </p:sp>
      <p:sp>
        <p:nvSpPr>
          <p:cNvPr id="206854" name="Rectangle 6"/>
          <p:cNvSpPr>
            <a:spLocks noGrp="1" noChangeArrowheads="1"/>
          </p:cNvSpPr>
          <p:nvPr>
            <p:ph type="ctrTitle" sz="quarter"/>
          </p:nvPr>
        </p:nvSpPr>
        <p:spPr>
          <a:xfrm>
            <a:off x="515939" y="1219200"/>
            <a:ext cx="7213600" cy="1003300"/>
          </a:xfrm>
        </p:spPr>
        <p:txBody>
          <a:bodyPr lIns="91440" tIns="82296" rIns="82296" bIns="82296" anchor="b"/>
          <a:lstStyle>
            <a:lvl1pPr fontAlgn="t">
              <a:lnSpc>
                <a:spcPct val="100000"/>
              </a:lnSpc>
              <a:defRPr sz="2600"/>
            </a:lvl1pPr>
          </a:lstStyle>
          <a:p>
            <a:r>
              <a:rPr lang="en-GB" altLang="en-US"/>
              <a:t>Main Title (Arial, 26pt -Maximum 2 lines)</a:t>
            </a:r>
            <a:endParaRPr lang="en-GB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4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19125" y="1152526"/>
            <a:ext cx="3919539" cy="48672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91065" y="1152526"/>
            <a:ext cx="3919537" cy="48672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1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1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6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6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170FAFA-DE35-4C24-8A9E-E7E817F03F6C}" type="datetime1">
              <a:rPr lang="en-US"/>
              <a:pPr>
                <a:defRPr/>
              </a:pPr>
              <a:t>2/28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B48DFFC-55BA-48A6-9ED8-9B30BE876801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1"/>
            <a:ext cx="5111751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1" y="1435101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1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9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08749" y="225426"/>
            <a:ext cx="2101851" cy="579437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98439" y="225426"/>
            <a:ext cx="6157912" cy="579437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4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90F9BAF-5D8E-4187-91D0-3CF57E585C6C}" type="datetime1">
              <a:rPr lang="en-US"/>
              <a:pPr>
                <a:defRPr/>
              </a:pPr>
              <a:t>2/28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5798EBD-0357-42F4-BC4B-B0AF4F7571DA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1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1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EB25C80-B7BD-434A-A9C5-61C687491A22}" type="datetime1">
              <a:rPr lang="en-US"/>
              <a:pPr>
                <a:defRPr/>
              </a:pPr>
              <a:t>2/28/2018</a:t>
            </a:fld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8F81ECD-7B65-406B-8123-DEAFED8A01DE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1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1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6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6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43BC9B2-E8CD-443D-BFE9-CDB7366A9B21}" type="datetime1">
              <a:rPr lang="en-US"/>
              <a:pPr>
                <a:defRPr/>
              </a:pPr>
              <a:t>2/28/2018</a:t>
            </a:fld>
            <a:endParaRPr lang="en-US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6982067-9386-47E4-B89B-6EA136C9A1C0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F77B4EF-4BBE-4CAD-A39B-21F9A808F5B5}" type="datetime1">
              <a:rPr lang="en-US"/>
              <a:pPr>
                <a:defRPr/>
              </a:pPr>
              <a:t>2/28/2018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0A282B9-EB47-4047-AA26-C94FB6C8AC85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D8F13F2-8914-4561-9A8F-CCCD58CF8FD8}" type="datetime1">
              <a:rPr lang="en-US"/>
              <a:pPr>
                <a:defRPr/>
              </a:pPr>
              <a:t>2/28/2018</a:t>
            </a:fld>
            <a:endParaRPr lang="en-US" dirty="0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AB07E3E-1571-4957-932A-4F76C9BEBF01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1"/>
            <a:ext cx="5111751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1" y="1435101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331D09A-47EF-4D90-BD56-21EA1A58784A}" type="datetime1">
              <a:rPr lang="en-US"/>
              <a:pPr>
                <a:defRPr/>
              </a:pPr>
              <a:t>2/28/2018</a:t>
            </a:fld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6BEF35B-023A-4024-BCD7-9D255493C730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1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9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1E9DEBF-F1DE-4E05-B117-24C6BCCE59FF}" type="datetime1">
              <a:rPr lang="en-US"/>
              <a:pPr>
                <a:defRPr/>
              </a:pPr>
              <a:t>2/28/2018</a:t>
            </a:fld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CF5E0C0-5849-434A-A90B-9F9F3B6263C5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image" Target="../media/image3.png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600201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1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BFD7673A-501B-4883-A6EE-DC458A9EE0D4}" type="datetime1">
              <a:rPr lang="en-US"/>
              <a:pPr>
                <a:defRPr/>
              </a:pPr>
              <a:t>2/28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1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1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5078B8FD-831E-41C2-9601-AC430C89352D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28" r:id="rId1"/>
    <p:sldLayoutId id="2147483729" r:id="rId2"/>
    <p:sldLayoutId id="2147483730" r:id="rId3"/>
    <p:sldLayoutId id="2147483731" r:id="rId4"/>
    <p:sldLayoutId id="2147483732" r:id="rId5"/>
    <p:sldLayoutId id="2147483733" r:id="rId6"/>
    <p:sldLayoutId id="2147483734" r:id="rId7"/>
    <p:sldLayoutId id="2147483735" r:id="rId8"/>
    <p:sldLayoutId id="2147483736" r:id="rId9"/>
    <p:sldLayoutId id="2147483737" r:id="rId10"/>
    <p:sldLayoutId id="2147483738" r:id="rId11"/>
    <p:sldLayoutId id="2147483750" r:id="rId12"/>
  </p:sldLayoutIdLst>
  <p:hf sldNum="0" hdr="0" ftr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98439" y="225426"/>
            <a:ext cx="8377237" cy="5476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80000" tIns="36000" rIns="108000" bIns="3600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Cliquez Pour Modifier Le Style Du Titre Du Masque</a:t>
            </a:r>
          </a:p>
        </p:txBody>
      </p:sp>
      <p:sp>
        <p:nvSpPr>
          <p:cNvPr id="205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19125" y="1152526"/>
            <a:ext cx="7991475" cy="4867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Premier niveau</a:t>
            </a:r>
          </a:p>
          <a:p>
            <a:pPr lvl="1"/>
            <a:r>
              <a:rPr lang="en-GB"/>
              <a:t>Deuxième niveau</a:t>
            </a:r>
          </a:p>
          <a:p>
            <a:pPr lvl="2"/>
            <a:r>
              <a:rPr lang="en-GB"/>
              <a:t>Troisième niveau</a:t>
            </a:r>
          </a:p>
        </p:txBody>
      </p:sp>
      <p:sp>
        <p:nvSpPr>
          <p:cNvPr id="205828" name="Text Box 4"/>
          <p:cNvSpPr txBox="1">
            <a:spLocks noChangeArrowheads="1"/>
          </p:cNvSpPr>
          <p:nvPr/>
        </p:nvSpPr>
        <p:spPr bwMode="auto">
          <a:xfrm>
            <a:off x="8535989" y="6403976"/>
            <a:ext cx="474663" cy="200055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EFD4DC00-16F4-4E3F-BA0C-2229B06B8512}" type="slidenum">
              <a:rPr lang="en-GB" sz="700">
                <a:solidFill>
                  <a:schemeClr val="bg2"/>
                </a:solidFill>
                <a:latin typeface="Tahoma" pitchFamily="34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sz="700" dirty="0">
              <a:solidFill>
                <a:schemeClr val="bg2"/>
              </a:solidFill>
              <a:latin typeface="Tahoma" pitchFamily="34" charset="0"/>
            </a:endParaRPr>
          </a:p>
        </p:txBody>
      </p:sp>
      <p:sp>
        <p:nvSpPr>
          <p:cNvPr id="205829" name="Rectangle 5"/>
          <p:cNvSpPr>
            <a:spLocks noChangeArrowheads="1"/>
          </p:cNvSpPr>
          <p:nvPr/>
        </p:nvSpPr>
        <p:spPr bwMode="white">
          <a:xfrm>
            <a:off x="652465" y="6677026"/>
            <a:ext cx="1614487" cy="142875"/>
          </a:xfrm>
          <a:prstGeom prst="rect">
            <a:avLst/>
          </a:prstGeom>
          <a:solidFill>
            <a:srgbClr val="FFFFFF"/>
          </a:solidFill>
          <a:ln w="19050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+mn-lt"/>
            </a:endParaRPr>
          </a:p>
        </p:txBody>
      </p:sp>
      <p:pic>
        <p:nvPicPr>
          <p:cNvPr id="2054" name="Picture 6" descr="Capgemini_cmyk"/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322264" y="6299201"/>
            <a:ext cx="1519237" cy="355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05831" name="Line 7"/>
          <p:cNvSpPr>
            <a:spLocks noChangeShapeType="1"/>
          </p:cNvSpPr>
          <p:nvPr/>
        </p:nvSpPr>
        <p:spPr bwMode="auto">
          <a:xfrm>
            <a:off x="407989" y="771525"/>
            <a:ext cx="8251825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+mn-lt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51" r:id="rId1"/>
    <p:sldLayoutId id="2147483739" r:id="rId2"/>
    <p:sldLayoutId id="2147483740" r:id="rId3"/>
    <p:sldLayoutId id="2147483741" r:id="rId4"/>
    <p:sldLayoutId id="2147483742" r:id="rId5"/>
    <p:sldLayoutId id="2147483743" r:id="rId6"/>
    <p:sldLayoutId id="2147483744" r:id="rId7"/>
    <p:sldLayoutId id="2147483745" r:id="rId8"/>
    <p:sldLayoutId id="2147483746" r:id="rId9"/>
    <p:sldLayoutId id="2147483747" r:id="rId10"/>
    <p:sldLayoutId id="2147483748" r:id="rId11"/>
  </p:sldLayoutIdLst>
  <p:hf sldNum="0" hdr="0" ftr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hlink"/>
          </a:solidFill>
          <a:latin typeface="Tahoma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hlink"/>
          </a:solidFill>
          <a:latin typeface="Tahoma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hlink"/>
          </a:solidFill>
          <a:latin typeface="Tahoma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hlink"/>
          </a:solidFill>
          <a:latin typeface="Tahoma" pitchFamily="34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hlink"/>
          </a:solidFill>
          <a:latin typeface="Tahoma" pitchFamily="34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hlink"/>
          </a:solidFill>
          <a:latin typeface="Tahoma" pitchFamily="34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hlink"/>
          </a:solidFill>
          <a:latin typeface="Tahoma" pitchFamily="34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hlink"/>
          </a:solidFill>
          <a:latin typeface="Tahoma" pitchFamily="34" charset="0"/>
        </a:defRPr>
      </a:lvl9pPr>
    </p:titleStyle>
    <p:bodyStyle>
      <a:lvl1pPr marL="171450" indent="-171450" algn="l" rtl="0" eaLnBrk="0" fontAlgn="base" hangingPunct="0">
        <a:lnSpc>
          <a:spcPct val="85000"/>
        </a:lnSpc>
        <a:spcBef>
          <a:spcPct val="50000"/>
        </a:spcBef>
        <a:spcAft>
          <a:spcPct val="0"/>
        </a:spcAft>
        <a:buClr>
          <a:srgbClr val="07AFD7"/>
        </a:buClr>
        <a:buFont typeface="Webdings" pitchFamily="18" charset="2"/>
        <a:buChar char="4"/>
        <a:defRPr sz="20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rtl="0" eaLnBrk="0" fontAlgn="base" hangingPunct="0">
        <a:lnSpc>
          <a:spcPct val="85000"/>
        </a:lnSpc>
        <a:spcBef>
          <a:spcPct val="35000"/>
        </a:spcBef>
        <a:spcAft>
          <a:spcPct val="0"/>
        </a:spcAft>
        <a:buClr>
          <a:srgbClr val="292929"/>
        </a:buClr>
        <a:buSzPct val="90000"/>
        <a:buFont typeface="Symbol" pitchFamily="18" charset="2"/>
        <a:buChar char="-"/>
        <a:defRPr sz="2800">
          <a:solidFill>
            <a:schemeClr val="hlink"/>
          </a:solidFill>
          <a:latin typeface="+mn-lt"/>
        </a:defRPr>
      </a:lvl2pPr>
      <a:lvl3pPr marL="1031875" indent="-176213" algn="l" rtl="0" eaLnBrk="0" fontAlgn="base" hangingPunct="0">
        <a:lnSpc>
          <a:spcPct val="85000"/>
        </a:lnSpc>
        <a:spcBef>
          <a:spcPct val="50000"/>
        </a:spcBef>
        <a:spcAft>
          <a:spcPct val="0"/>
        </a:spcAft>
        <a:buClr>
          <a:schemeClr val="bg2"/>
        </a:buClr>
        <a:buSzPct val="90000"/>
        <a:buChar char="•"/>
        <a:defRPr sz="1600">
          <a:solidFill>
            <a:schemeClr val="tx1"/>
          </a:solidFill>
          <a:latin typeface="+mn-lt"/>
        </a:defRPr>
      </a:lvl3pPr>
      <a:lvl4pPr marL="1543050" indent="-228600" algn="l" rtl="0" eaLnBrk="0" fontAlgn="base" hangingPunct="0">
        <a:spcBef>
          <a:spcPct val="20000"/>
        </a:spcBef>
        <a:spcAft>
          <a:spcPct val="0"/>
        </a:spcAft>
        <a:buChar char="–"/>
        <a:defRPr sz="2200">
          <a:solidFill>
            <a:schemeClr val="tx1"/>
          </a:solidFill>
          <a:latin typeface="Arial" charset="0"/>
        </a:defRPr>
      </a:lvl4pPr>
      <a:lvl5pPr marL="1962150" indent="-228600" algn="l" rtl="0" eaLnBrk="0" fontAlgn="base" hangingPunct="0">
        <a:spcBef>
          <a:spcPct val="20000"/>
        </a:spcBef>
        <a:spcAft>
          <a:spcPct val="0"/>
        </a:spcAft>
        <a:buChar char="»"/>
        <a:defRPr sz="2200">
          <a:solidFill>
            <a:schemeClr val="tx1"/>
          </a:solidFill>
          <a:latin typeface="Arial" charset="0"/>
        </a:defRPr>
      </a:lvl5pPr>
      <a:lvl6pPr marL="2419350" indent="-228600" algn="l" rtl="0" fontAlgn="base">
        <a:spcBef>
          <a:spcPct val="20000"/>
        </a:spcBef>
        <a:spcAft>
          <a:spcPct val="0"/>
        </a:spcAft>
        <a:buChar char="»"/>
        <a:defRPr sz="2200">
          <a:solidFill>
            <a:schemeClr val="tx1"/>
          </a:solidFill>
          <a:latin typeface="Arial" charset="0"/>
        </a:defRPr>
      </a:lvl6pPr>
      <a:lvl7pPr marL="2876550" indent="-228600" algn="l" rtl="0" fontAlgn="base">
        <a:spcBef>
          <a:spcPct val="20000"/>
        </a:spcBef>
        <a:spcAft>
          <a:spcPct val="0"/>
        </a:spcAft>
        <a:buChar char="»"/>
        <a:defRPr sz="2200">
          <a:solidFill>
            <a:schemeClr val="tx1"/>
          </a:solidFill>
          <a:latin typeface="Arial" charset="0"/>
        </a:defRPr>
      </a:lvl7pPr>
      <a:lvl8pPr marL="3333750" indent="-228600" algn="l" rtl="0" fontAlgn="base">
        <a:spcBef>
          <a:spcPct val="20000"/>
        </a:spcBef>
        <a:spcAft>
          <a:spcPct val="0"/>
        </a:spcAft>
        <a:buChar char="»"/>
        <a:defRPr sz="2200">
          <a:solidFill>
            <a:schemeClr val="tx1"/>
          </a:solidFill>
          <a:latin typeface="Arial" charset="0"/>
        </a:defRPr>
      </a:lvl8pPr>
      <a:lvl9pPr marL="3790950" indent="-228600" algn="l" rtl="0" fontAlgn="base">
        <a:spcBef>
          <a:spcPct val="20000"/>
        </a:spcBef>
        <a:spcAft>
          <a:spcPct val="0"/>
        </a:spcAft>
        <a:buChar char="»"/>
        <a:defRPr sz="2200">
          <a:solidFill>
            <a:schemeClr val="tx1"/>
          </a:solidFill>
          <a:latin typeface="Arial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8.png"/><Relationship Id="rId4" Type="http://schemas.microsoft.com/office/2007/relationships/hdphoto" Target="../media/hdphoto1.wdp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4.xml"/><Relationship Id="rId5" Type="http://schemas.microsoft.com/office/2007/relationships/hdphoto" Target="../media/hdphoto1.wdp"/><Relationship Id="rId4" Type="http://schemas.openxmlformats.org/officeDocument/2006/relationships/image" Target="../media/image7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7" Type="http://schemas.microsoft.com/office/2007/relationships/hdphoto" Target="../media/hdphoto1.wdp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7.png"/><Relationship Id="rId5" Type="http://schemas.openxmlformats.org/officeDocument/2006/relationships/image" Target="../media/image8.png"/><Relationship Id="rId4" Type="http://schemas.openxmlformats.org/officeDocument/2006/relationships/image" Target="../media/image17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4.xml"/><Relationship Id="rId6" Type="http://schemas.microsoft.com/office/2007/relationships/hdphoto" Target="../media/hdphoto1.wdp"/><Relationship Id="rId5" Type="http://schemas.openxmlformats.org/officeDocument/2006/relationships/image" Target="../media/image7.png"/><Relationship Id="rId4" Type="http://schemas.openxmlformats.org/officeDocument/2006/relationships/image" Target="../media/image8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diagramLayout" Target="../diagrams/layout3.xml"/><Relationship Id="rId7" Type="http://schemas.openxmlformats.org/officeDocument/2006/relationships/image" Target="../media/image8.png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14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Relationship Id="rId9" Type="http://schemas.microsoft.com/office/2007/relationships/hdphoto" Target="../media/hdphoto1.wdp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0.wmf"/><Relationship Id="rId1" Type="http://schemas.openxmlformats.org/officeDocument/2006/relationships/slideLayout" Target="../slideLayouts/slideLayout14.xml"/><Relationship Id="rId5" Type="http://schemas.microsoft.com/office/2007/relationships/hdphoto" Target="../media/hdphoto1.wdp"/><Relationship Id="rId4" Type="http://schemas.openxmlformats.org/officeDocument/2006/relationships/image" Target="../media/image7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" Target="slide17.xml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4.xml"/><Relationship Id="rId6" Type="http://schemas.microsoft.com/office/2007/relationships/hdphoto" Target="../media/hdphoto1.wdp"/><Relationship Id="rId5" Type="http://schemas.openxmlformats.org/officeDocument/2006/relationships/image" Target="../media/image7.png"/><Relationship Id="rId4" Type="http://schemas.openxmlformats.org/officeDocument/2006/relationships/image" Target="../media/image8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" Target="slide17.xml"/><Relationship Id="rId1" Type="http://schemas.openxmlformats.org/officeDocument/2006/relationships/slideLayout" Target="../slideLayouts/slideLayout14.xml"/><Relationship Id="rId5" Type="http://schemas.microsoft.com/office/2007/relationships/hdphoto" Target="../media/hdphoto1.wdp"/><Relationship Id="rId4" Type="http://schemas.openxmlformats.org/officeDocument/2006/relationships/image" Target="../media/image7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8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4.xml"/><Relationship Id="rId5" Type="http://schemas.microsoft.com/office/2007/relationships/hdphoto" Target="../media/hdphoto1.wdp"/><Relationship Id="rId4" Type="http://schemas.openxmlformats.org/officeDocument/2006/relationships/image" Target="../media/image7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4.xml"/><Relationship Id="rId5" Type="http://schemas.microsoft.com/office/2007/relationships/hdphoto" Target="../media/hdphoto1.wdp"/><Relationship Id="rId4" Type="http://schemas.openxmlformats.org/officeDocument/2006/relationships/image" Target="../media/image7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4.xml"/><Relationship Id="rId5" Type="http://schemas.microsoft.com/office/2007/relationships/hdphoto" Target="../media/hdphoto1.wdp"/><Relationship Id="rId4" Type="http://schemas.openxmlformats.org/officeDocument/2006/relationships/image" Target="../media/image7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4.xml"/><Relationship Id="rId6" Type="http://schemas.microsoft.com/office/2007/relationships/hdphoto" Target="../media/hdphoto1.wdp"/><Relationship Id="rId5" Type="http://schemas.openxmlformats.org/officeDocument/2006/relationships/image" Target="../media/image7.png"/><Relationship Id="rId4" Type="http://schemas.openxmlformats.org/officeDocument/2006/relationships/image" Target="../media/image8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4.xml"/><Relationship Id="rId5" Type="http://schemas.microsoft.com/office/2007/relationships/hdphoto" Target="../media/hdphoto1.wdp"/><Relationship Id="rId4" Type="http://schemas.openxmlformats.org/officeDocument/2006/relationships/image" Target="../media/image7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4.xml"/><Relationship Id="rId6" Type="http://schemas.microsoft.com/office/2007/relationships/hdphoto" Target="../media/hdphoto1.wdp"/><Relationship Id="rId5" Type="http://schemas.openxmlformats.org/officeDocument/2006/relationships/image" Target="../media/image7.png"/><Relationship Id="rId4" Type="http://schemas.openxmlformats.org/officeDocument/2006/relationships/image" Target="../media/image8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4.xml"/><Relationship Id="rId5" Type="http://schemas.microsoft.com/office/2007/relationships/hdphoto" Target="../media/hdphoto1.wdp"/><Relationship Id="rId4" Type="http://schemas.openxmlformats.org/officeDocument/2006/relationships/image" Target="../media/image7.png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diagramLayout" Target="../diagrams/layout4.xml"/><Relationship Id="rId7" Type="http://schemas.openxmlformats.org/officeDocument/2006/relationships/image" Target="../media/image8.png"/><Relationship Id="rId2" Type="http://schemas.openxmlformats.org/officeDocument/2006/relationships/diagramData" Target="../diagrams/data4.xml"/><Relationship Id="rId1" Type="http://schemas.openxmlformats.org/officeDocument/2006/relationships/slideLayout" Target="../slideLayouts/slideLayout14.xml"/><Relationship Id="rId6" Type="http://schemas.microsoft.com/office/2007/relationships/diagramDrawing" Target="../diagrams/drawing4.xml"/><Relationship Id="rId5" Type="http://schemas.openxmlformats.org/officeDocument/2006/relationships/diagramColors" Target="../diagrams/colors4.xml"/><Relationship Id="rId4" Type="http://schemas.openxmlformats.org/officeDocument/2006/relationships/diagramQuickStyle" Target="../diagrams/quickStyle4.xml"/><Relationship Id="rId9" Type="http://schemas.microsoft.com/office/2007/relationships/hdphoto" Target="../media/hdphoto1.wdp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0.wmf"/><Relationship Id="rId1" Type="http://schemas.openxmlformats.org/officeDocument/2006/relationships/slideLayout" Target="../slideLayouts/slideLayout14.xml"/><Relationship Id="rId5" Type="http://schemas.microsoft.com/office/2007/relationships/hdphoto" Target="../media/hdphoto1.wdp"/><Relationship Id="rId4" Type="http://schemas.openxmlformats.org/officeDocument/2006/relationships/image" Target="../media/image7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" Target="slide26.xml"/><Relationship Id="rId1" Type="http://schemas.openxmlformats.org/officeDocument/2006/relationships/slideLayout" Target="../slideLayouts/slideLayout14.xml"/><Relationship Id="rId5" Type="http://schemas.microsoft.com/office/2007/relationships/hdphoto" Target="../media/hdphoto1.wdp"/><Relationship Id="rId4" Type="http://schemas.openxmlformats.org/officeDocument/2006/relationships/image" Target="../media/image7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slide" Target="slide26.xm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4.xml"/><Relationship Id="rId6" Type="http://schemas.microsoft.com/office/2007/relationships/hdphoto" Target="../media/hdphoto1.wdp"/><Relationship Id="rId5" Type="http://schemas.openxmlformats.org/officeDocument/2006/relationships/image" Target="../media/image7.png"/><Relationship Id="rId4" Type="http://schemas.openxmlformats.org/officeDocument/2006/relationships/image" Target="../media/image8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slide" Target="slide26.xml"/><Relationship Id="rId7" Type="http://schemas.microsoft.com/office/2007/relationships/hdphoto" Target="../media/hdphoto1.wdp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7.png"/><Relationship Id="rId5" Type="http://schemas.openxmlformats.org/officeDocument/2006/relationships/image" Target="../media/image8.png"/><Relationship Id="rId4" Type="http://schemas.openxmlformats.org/officeDocument/2006/relationships/image" Target="../media/image23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4.xml"/><Relationship Id="rId5" Type="http://schemas.microsoft.com/office/2007/relationships/hdphoto" Target="../media/hdphoto1.wdp"/><Relationship Id="rId4" Type="http://schemas.openxmlformats.org/officeDocument/2006/relationships/image" Target="../media/image7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diagramLayout" Target="../diagrams/layout1.xml"/><Relationship Id="rId7" Type="http://schemas.openxmlformats.org/officeDocument/2006/relationships/image" Target="../media/image8.pn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4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Relationship Id="rId9" Type="http://schemas.microsoft.com/office/2007/relationships/hdphoto" Target="../media/hdphoto1.wdp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diagramLayout" Target="../diagrams/layout5.xml"/><Relationship Id="rId7" Type="http://schemas.openxmlformats.org/officeDocument/2006/relationships/image" Target="../media/image8.png"/><Relationship Id="rId2" Type="http://schemas.openxmlformats.org/officeDocument/2006/relationships/diagramData" Target="../diagrams/data5.xml"/><Relationship Id="rId1" Type="http://schemas.openxmlformats.org/officeDocument/2006/relationships/slideLayout" Target="../slideLayouts/slideLayout14.xml"/><Relationship Id="rId6" Type="http://schemas.microsoft.com/office/2007/relationships/diagramDrawing" Target="../diagrams/drawing5.xml"/><Relationship Id="rId5" Type="http://schemas.openxmlformats.org/officeDocument/2006/relationships/diagramColors" Target="../diagrams/colors5.xml"/><Relationship Id="rId4" Type="http://schemas.openxmlformats.org/officeDocument/2006/relationships/diagramQuickStyle" Target="../diagrams/quickStyle5.xml"/><Relationship Id="rId9" Type="http://schemas.microsoft.com/office/2007/relationships/hdphoto" Target="../media/hdphoto1.wdp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0.wmf"/><Relationship Id="rId1" Type="http://schemas.openxmlformats.org/officeDocument/2006/relationships/slideLayout" Target="../slideLayouts/slideLayout14.xml"/><Relationship Id="rId5" Type="http://schemas.microsoft.com/office/2007/relationships/hdphoto" Target="../media/hdphoto1.wdp"/><Relationship Id="rId4" Type="http://schemas.openxmlformats.org/officeDocument/2006/relationships/image" Target="../media/image7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4.xml"/><Relationship Id="rId4" Type="http://schemas.microsoft.com/office/2007/relationships/hdphoto" Target="../media/hdphoto1.wdp"/></Relationships>
</file>

<file path=ppt/slides/_rels/slide33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7.xml"/><Relationship Id="rId13" Type="http://schemas.openxmlformats.org/officeDocument/2006/relationships/image" Target="../media/image7.png"/><Relationship Id="rId3" Type="http://schemas.openxmlformats.org/officeDocument/2006/relationships/diagramLayout" Target="../diagrams/layout6.xml"/><Relationship Id="rId7" Type="http://schemas.openxmlformats.org/officeDocument/2006/relationships/diagramData" Target="../diagrams/data7.xml"/><Relationship Id="rId12" Type="http://schemas.openxmlformats.org/officeDocument/2006/relationships/image" Target="../media/image8.png"/><Relationship Id="rId2" Type="http://schemas.openxmlformats.org/officeDocument/2006/relationships/diagramData" Target="../diagrams/data6.xml"/><Relationship Id="rId1" Type="http://schemas.openxmlformats.org/officeDocument/2006/relationships/slideLayout" Target="../slideLayouts/slideLayout14.xml"/><Relationship Id="rId6" Type="http://schemas.microsoft.com/office/2007/relationships/diagramDrawing" Target="../diagrams/drawing6.xml"/><Relationship Id="rId11" Type="http://schemas.microsoft.com/office/2007/relationships/diagramDrawing" Target="../diagrams/drawing7.xml"/><Relationship Id="rId5" Type="http://schemas.openxmlformats.org/officeDocument/2006/relationships/diagramColors" Target="../diagrams/colors6.xml"/><Relationship Id="rId10" Type="http://schemas.openxmlformats.org/officeDocument/2006/relationships/diagramColors" Target="../diagrams/colors7.xml"/><Relationship Id="rId4" Type="http://schemas.openxmlformats.org/officeDocument/2006/relationships/diagramQuickStyle" Target="../diagrams/quickStyle6.xml"/><Relationship Id="rId9" Type="http://schemas.openxmlformats.org/officeDocument/2006/relationships/diagramQuickStyle" Target="../diagrams/quickStyle7.xml"/><Relationship Id="rId14" Type="http://schemas.microsoft.com/office/2007/relationships/hdphoto" Target="../media/hdphoto1.wdp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4.xml"/><Relationship Id="rId4" Type="http://schemas.microsoft.com/office/2007/relationships/hdphoto" Target="../media/hdphoto1.wdp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4.xml"/><Relationship Id="rId5" Type="http://schemas.microsoft.com/office/2007/relationships/hdphoto" Target="../media/hdphoto1.wdp"/><Relationship Id="rId4" Type="http://schemas.openxmlformats.org/officeDocument/2006/relationships/image" Target="../media/image7.pn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24.wmf"/><Relationship Id="rId1" Type="http://schemas.openxmlformats.org/officeDocument/2006/relationships/slideLayout" Target="../slideLayouts/slideLayout14.xml"/><Relationship Id="rId5" Type="http://schemas.microsoft.com/office/2007/relationships/hdphoto" Target="../media/hdphoto1.wdp"/><Relationship Id="rId4" Type="http://schemas.openxmlformats.org/officeDocument/2006/relationships/image" Target="../media/image7.pn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25.wmf"/><Relationship Id="rId1" Type="http://schemas.openxmlformats.org/officeDocument/2006/relationships/slideLayout" Target="../slideLayouts/slideLayout14.xml"/><Relationship Id="rId5" Type="http://schemas.microsoft.com/office/2007/relationships/hdphoto" Target="../media/hdphoto1.wdp"/><Relationship Id="rId4" Type="http://schemas.openxmlformats.org/officeDocument/2006/relationships/image" Target="../media/image7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diagramLayout" Target="../diagrams/layout2.xml"/><Relationship Id="rId7" Type="http://schemas.openxmlformats.org/officeDocument/2006/relationships/image" Target="../media/image8.png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14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Relationship Id="rId9" Type="http://schemas.microsoft.com/office/2007/relationships/hdphoto" Target="../media/hdphoto1.wdp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wmf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4.xml"/><Relationship Id="rId6" Type="http://schemas.microsoft.com/office/2007/relationships/hdphoto" Target="../media/hdphoto1.wdp"/><Relationship Id="rId5" Type="http://schemas.openxmlformats.org/officeDocument/2006/relationships/image" Target="../media/image7.png"/><Relationship Id="rId4" Type="http://schemas.openxmlformats.org/officeDocument/2006/relationships/image" Target="../media/image8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4.xml"/><Relationship Id="rId5" Type="http://schemas.microsoft.com/office/2007/relationships/hdphoto" Target="../media/hdphoto1.wdp"/><Relationship Id="rId4" Type="http://schemas.openxmlformats.org/officeDocument/2006/relationships/image" Target="../media/image7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4.xml"/><Relationship Id="rId4" Type="http://schemas.microsoft.com/office/2007/relationships/hdphoto" Target="../media/hdphoto1.wdp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4.xml"/><Relationship Id="rId4" Type="http://schemas.microsoft.com/office/2007/relationships/hdphoto" Target="../media/hdphoto1.wdp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7" Type="http://schemas.microsoft.com/office/2007/relationships/hdphoto" Target="../media/hdphoto1.wdp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7.png"/><Relationship Id="rId5" Type="http://schemas.openxmlformats.org/officeDocument/2006/relationships/image" Target="../media/image8.png"/><Relationship Id="rId4" Type="http://schemas.openxmlformats.org/officeDocument/2006/relationships/image" Target="../media/image1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3" name="Rectangle 53"/>
          <p:cNvSpPr>
            <a:spLocks noChangeArrowheads="1"/>
          </p:cNvSpPr>
          <p:nvPr/>
        </p:nvSpPr>
        <p:spPr bwMode="auto">
          <a:xfrm>
            <a:off x="87314" y="6565901"/>
            <a:ext cx="8980487" cy="2413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92075" tIns="0" rIns="92075" bIns="0" anchor="ctr"/>
          <a:lstStyle/>
          <a:p>
            <a:r>
              <a:rPr lang="en-US" sz="1200" dirty="0">
                <a:latin typeface="Calibri" pitchFamily="34" charset="0"/>
              </a:rPr>
              <a:t>This presentation is for internal use only and not intended for external distribution. Its contents must be held in confidence.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xmlns="" id="{E7393A71-6ED5-4A71-9959-3B8D234AE888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 xmlns="">
                  <a14:imgLayer r:embed="rId4">
                    <a14:imgEffect>
                      <a14:brightnessContrast bright="20000" contrast="-40000"/>
                    </a14:imgEffect>
                  </a14:imgLayer>
                </a14:imgProps>
              </a:ext>
            </a:extLst>
          </a:blip>
          <a:srcRect l="49475" t="1" b="-698"/>
          <a:stretch/>
        </p:blipFill>
        <p:spPr>
          <a:xfrm>
            <a:off x="6096000" y="192259"/>
            <a:ext cx="1910591" cy="642628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01A9ABF4-FD06-4DCD-A18E-60F50F7B9B87}"/>
              </a:ext>
            </a:extLst>
          </p:cNvPr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8153400" y="144738"/>
            <a:ext cx="768279" cy="690149"/>
          </a:xfrm>
          <a:prstGeom prst="rect">
            <a:avLst/>
          </a:prstGeom>
        </p:spPr>
      </p:pic>
      <p:sp>
        <p:nvSpPr>
          <p:cNvPr id="7" name="Rectangle 41">
            <a:extLst>
              <a:ext uri="{FF2B5EF4-FFF2-40B4-BE49-F238E27FC236}">
                <a16:creationId xmlns:a16="http://schemas.microsoft.com/office/drawing/2014/main" xmlns="" id="{6438C94A-B837-4A9F-B3A1-438DDB99E73E}"/>
              </a:ext>
            </a:extLst>
          </p:cNvPr>
          <p:cNvSpPr>
            <a:spLocks noGrp="1" noChangeArrowheads="1"/>
          </p:cNvSpPr>
          <p:nvPr>
            <p:ph type="ctrTitle"/>
          </p:nvPr>
        </p:nvSpPr>
        <p:spPr>
          <a:xfrm>
            <a:off x="4343400" y="914400"/>
            <a:ext cx="4797425" cy="1544214"/>
          </a:xfrm>
        </p:spPr>
        <p:txBody>
          <a:bodyPr/>
          <a:lstStyle/>
          <a:p>
            <a:pPr algn="l" eaLnBrk="1" hangingPunct="1">
              <a:defRPr/>
            </a:pPr>
            <a:r>
              <a:rPr lang="en-US" sz="2000" b="1" i="1" dirty="0"/>
              <a:t>SAP FINANCIALS </a:t>
            </a:r>
            <a:br>
              <a:rPr lang="en-US" sz="2000" b="1" i="1" dirty="0"/>
            </a:br>
            <a:r>
              <a:rPr lang="en-US" sz="2000" i="1" dirty="0"/>
              <a:t> </a:t>
            </a:r>
            <a:r>
              <a:rPr lang="en-US" sz="2000" i="1" dirty="0">
                <a:solidFill>
                  <a:schemeClr val="accent4"/>
                </a:solidFill>
              </a:rPr>
              <a:t>Validations &amp; Substitutions</a:t>
            </a:r>
            <a:r>
              <a:rPr lang="en-US" sz="2000" i="1" dirty="0"/>
              <a:t/>
            </a:r>
            <a:br>
              <a:rPr lang="en-US" sz="2000" i="1" dirty="0"/>
            </a:br>
            <a:endParaRPr lang="en-US" sz="3200" i="1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xmlns="" id="{302B09FB-FD12-45AD-9BEF-6F150EF799D1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 xmlns="">
                  <a14:imgLayer r:embed="rId4">
                    <a14:imgEffect>
                      <a14:brightnessContrast bright="20000" contrast="-40000"/>
                    </a14:imgEffect>
                  </a14:imgLayer>
                </a14:imgProps>
              </a:ext>
            </a:extLst>
          </a:blip>
          <a:srcRect r="49475" b="-1395"/>
          <a:stretch/>
        </p:blipFill>
        <p:spPr>
          <a:xfrm>
            <a:off x="381000" y="267321"/>
            <a:ext cx="2057400" cy="647079"/>
          </a:xfrm>
          <a:prstGeom prst="rect">
            <a:avLst/>
          </a:prstGeom>
        </p:spPr>
      </p:pic>
    </p:spTree>
  </p:cSld>
  <p:clrMapOvr>
    <a:masterClrMapping/>
  </p:clrMapOvr>
  <p:transition spd="slow"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ssignment and Activ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85800" y="3657600"/>
            <a:ext cx="7991475" cy="1905001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sz="1600" dirty="0"/>
              <a:t>You must assign your validation/substitution to an appropriate organizational unit. Ex: FI – company code, CO – Controlling area etc.</a:t>
            </a:r>
          </a:p>
          <a:p>
            <a:pPr>
              <a:lnSpc>
                <a:spcPct val="100000"/>
              </a:lnSpc>
            </a:pPr>
            <a:r>
              <a:rPr lang="en-US" sz="1600" dirty="0"/>
              <a:t>A validation/substitution can be valid for several company codes at the same time.</a:t>
            </a:r>
          </a:p>
          <a:p>
            <a:pPr>
              <a:lnSpc>
                <a:spcPct val="100000"/>
              </a:lnSpc>
            </a:pPr>
            <a:r>
              <a:rPr lang="en-US" sz="1600" dirty="0"/>
              <a:t>Only one validation/substitution can be activated for </a:t>
            </a:r>
            <a:r>
              <a:rPr lang="en-US" sz="1600" b="1" dirty="0"/>
              <a:t>one company code for a </a:t>
            </a:r>
            <a:r>
              <a:rPr lang="en-US" sz="1600" dirty="0"/>
              <a:t>callup point.ame time.</a:t>
            </a:r>
          </a:p>
          <a:p>
            <a:pPr lvl="2">
              <a:lnSpc>
                <a:spcPct val="100000"/>
              </a:lnSpc>
            </a:pPr>
            <a:r>
              <a:rPr lang="en-US" dirty="0"/>
              <a:t>0 – Inactive</a:t>
            </a:r>
          </a:p>
          <a:p>
            <a:pPr lvl="2">
              <a:lnSpc>
                <a:spcPct val="100000"/>
              </a:lnSpc>
            </a:pPr>
            <a:r>
              <a:rPr lang="en-US" dirty="0"/>
              <a:t>1 – Active for dialog and batch</a:t>
            </a:r>
          </a:p>
          <a:p>
            <a:pPr lvl="2">
              <a:lnSpc>
                <a:spcPct val="100000"/>
              </a:lnSpc>
            </a:pPr>
            <a:r>
              <a:rPr lang="en-US" dirty="0"/>
              <a:t>2 – Active except for batch input</a:t>
            </a:r>
          </a:p>
        </p:txBody>
      </p:sp>
      <p:pic>
        <p:nvPicPr>
          <p:cNvPr id="3075" name="Picture 3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43000" y="838200"/>
            <a:ext cx="5791200" cy="2769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3A0C7B83-7860-4BF0-B439-0F89F8CD63FD}"/>
              </a:ext>
            </a:extLst>
          </p:cNvPr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8153400" y="71851"/>
            <a:ext cx="768279" cy="690149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xmlns="" id="{0BA3CCFE-7EBB-49CC-B097-0CF22D6171C2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BEBA8EAE-BF5A-486C-A8C5-ECC9F3942E4B}">
                <a14:imgProps xmlns:a14="http://schemas.microsoft.com/office/drawing/2010/main" xmlns="">
                  <a14:imgLayer r:embed="rId5">
                    <a14:imgEffect>
                      <a14:brightnessContrast bright="20000" contrast="-40000"/>
                    </a14:imgEffect>
                  </a14:imgLayer>
                </a14:imgProps>
              </a:ext>
            </a:extLst>
          </a:blip>
          <a:srcRect r="49475" b="-1395"/>
          <a:stretch/>
        </p:blipFill>
        <p:spPr>
          <a:xfrm>
            <a:off x="162496" y="6248400"/>
            <a:ext cx="2057400" cy="547688"/>
          </a:xfrm>
          <a:prstGeom prst="rect">
            <a:avLst/>
          </a:prstGeom>
        </p:spPr>
      </p:pic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eventing the Fields from Being Used</a:t>
            </a:r>
            <a:br>
              <a:rPr lang="en-US" dirty="0"/>
            </a:b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3400" y="914400"/>
            <a:ext cx="7991475" cy="4867275"/>
          </a:xfrm>
        </p:spPr>
        <p:txBody>
          <a:bodyPr/>
          <a:lstStyle/>
          <a:p>
            <a:pPr>
              <a:buNone/>
            </a:pPr>
            <a:r>
              <a:rPr lang="en-US" dirty="0"/>
              <a:t>To prevent any Filed from being used that case Table GB01 can be used.</a:t>
            </a:r>
          </a:p>
          <a:p>
            <a:pPr>
              <a:buNone/>
            </a:pPr>
            <a:endParaRPr lang="en-US" dirty="0"/>
          </a:p>
          <a:p>
            <a:pPr>
              <a:buNone/>
            </a:pPr>
            <a:endParaRPr lang="en-US" dirty="0"/>
          </a:p>
          <a:p>
            <a:pPr>
              <a:buNone/>
            </a:pPr>
            <a:endParaRPr lang="en-US" dirty="0"/>
          </a:p>
          <a:p>
            <a:pPr>
              <a:buNone/>
            </a:pPr>
            <a:endParaRPr lang="en-US" dirty="0"/>
          </a:p>
          <a:p>
            <a:pPr>
              <a:buNone/>
            </a:pPr>
            <a:endParaRPr lang="en-US" dirty="0"/>
          </a:p>
          <a:p>
            <a:pPr>
              <a:buNone/>
            </a:pPr>
            <a:endParaRPr lang="en-US" dirty="0"/>
          </a:p>
          <a:p>
            <a:pPr>
              <a:buNone/>
            </a:pPr>
            <a:endParaRPr lang="en-US" dirty="0"/>
          </a:p>
          <a:p>
            <a:pPr>
              <a:buNone/>
            </a:pPr>
            <a:endParaRPr lang="en-US" dirty="0"/>
          </a:p>
          <a:p>
            <a:pPr>
              <a:buNone/>
            </a:pPr>
            <a:endParaRPr lang="en-US" dirty="0"/>
          </a:p>
          <a:p>
            <a:pPr>
              <a:buNone/>
            </a:pPr>
            <a:r>
              <a:rPr lang="en-US" dirty="0"/>
              <a:t>By Using Exclude indicator we can filed in the table can be limited.</a:t>
            </a:r>
          </a:p>
        </p:txBody>
      </p: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09600" y="1676400"/>
            <a:ext cx="7958138" cy="1547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28" name="Picture 4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33400" y="3352800"/>
            <a:ext cx="7842885" cy="1752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xmlns="" id="{E2EE6513-5433-4B3F-A0FE-CA8F5F7E9504}"/>
              </a:ext>
            </a:extLst>
          </p:cNvPr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8153400" y="71851"/>
            <a:ext cx="768279" cy="690149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xmlns="" id="{E8C09794-3B67-4B80-9FF6-DF4BA0486627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BEBA8EAE-BF5A-486C-A8C5-ECC9F3942E4B}">
                <a14:imgProps xmlns:a14="http://schemas.microsoft.com/office/drawing/2010/main" xmlns="">
                  <a14:imgLayer r:embed="rId7">
                    <a14:imgEffect>
                      <a14:brightnessContrast bright="20000" contrast="-40000"/>
                    </a14:imgEffect>
                  </a14:imgLayer>
                </a14:imgProps>
              </a:ext>
            </a:extLst>
          </a:blip>
          <a:srcRect r="49475" b="-1395"/>
          <a:stretch/>
        </p:blipFill>
        <p:spPr>
          <a:xfrm>
            <a:off x="162496" y="6199419"/>
            <a:ext cx="2057400" cy="647079"/>
          </a:xfrm>
          <a:prstGeom prst="rect">
            <a:avLst/>
          </a:prstGeom>
        </p:spPr>
      </p:pic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en-US" dirty="0"/>
              <a:t>Basics of Validations/Substitution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None/>
            </a:pPr>
            <a:r>
              <a:rPr lang="en-US" b="1" u="sng" dirty="0"/>
              <a:t>Summary:</a:t>
            </a:r>
            <a:endParaRPr lang="en-US" sz="1800" b="1" u="sng" dirty="0"/>
          </a:p>
          <a:p>
            <a:pPr>
              <a:buNone/>
            </a:pPr>
            <a:r>
              <a:rPr lang="en-US" sz="1800" b="1" dirty="0"/>
              <a:t>Now you should be able to:</a:t>
            </a:r>
          </a:p>
          <a:p>
            <a:pPr>
              <a:buNone/>
            </a:pPr>
            <a:endParaRPr lang="en-US" sz="1800" b="1" dirty="0"/>
          </a:p>
          <a:p>
            <a:r>
              <a:rPr lang="en-US" sz="1800" dirty="0"/>
              <a:t>Define Validations and Substitutions</a:t>
            </a:r>
          </a:p>
          <a:p>
            <a:r>
              <a:rPr lang="en-US" sz="1800" dirty="0"/>
              <a:t>Executing Validations and Substitutions</a:t>
            </a:r>
          </a:p>
          <a:p>
            <a:r>
              <a:rPr lang="en-US" sz="1800" dirty="0"/>
              <a:t>Application areas and Call up points</a:t>
            </a:r>
          </a:p>
          <a:p>
            <a:r>
              <a:rPr lang="en-US" sz="1800" dirty="0"/>
              <a:t>Formulae editor</a:t>
            </a:r>
          </a:p>
          <a:p>
            <a:r>
              <a:rPr lang="en-US" sz="1800" dirty="0"/>
              <a:t>Assignments and activation</a:t>
            </a:r>
          </a:p>
          <a:p>
            <a:endParaRPr lang="en-US" sz="1800" b="1" dirty="0"/>
          </a:p>
        </p:txBody>
      </p:sp>
      <p:pic>
        <p:nvPicPr>
          <p:cNvPr id="4" name="Picture 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239000" y="2971800"/>
            <a:ext cx="1676400" cy="3352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5C3968DB-753D-47C9-B601-A5E0E419DD4D}"/>
              </a:ext>
            </a:extLst>
          </p:cNvPr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8153400" y="71851"/>
            <a:ext cx="768279" cy="69014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xmlns="" id="{7FE9E475-F069-4560-925E-83E9E50CAC2F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BEBA8EAE-BF5A-486C-A8C5-ECC9F3942E4B}">
                <a14:imgProps xmlns:a14="http://schemas.microsoft.com/office/drawing/2010/main" xmlns="">
                  <a14:imgLayer r:embed="rId6">
                    <a14:imgEffect>
                      <a14:brightnessContrast bright="20000" contrast="-40000"/>
                    </a14:imgEffect>
                  </a14:imgLayer>
                </a14:imgProps>
              </a:ext>
            </a:extLst>
          </a:blip>
          <a:srcRect r="49475" b="-1395"/>
          <a:stretch/>
        </p:blipFill>
        <p:spPr>
          <a:xfrm>
            <a:off x="162496" y="6199419"/>
            <a:ext cx="2057400" cy="647079"/>
          </a:xfrm>
          <a:prstGeom prst="rect">
            <a:avLst/>
          </a:prstGeom>
        </p:spPr>
      </p:pic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ENTS</a:t>
            </a:r>
          </a:p>
        </p:txBody>
      </p:sp>
      <p:graphicFrame>
        <p:nvGraphicFramePr>
          <p:cNvPr id="4" name="Diagram 3"/>
          <p:cNvGraphicFramePr/>
          <p:nvPr/>
        </p:nvGraphicFramePr>
        <p:xfrm>
          <a:off x="838200" y="1143000"/>
          <a:ext cx="7391400" cy="47244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3ED18255-BD08-488D-89A1-676E02C500EC}"/>
              </a:ext>
            </a:extLst>
          </p:cNvPr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8153400" y="71851"/>
            <a:ext cx="768279" cy="69014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xmlns="" id="{8F57EF8E-835C-4EC9-8637-F4D2E5DD17A5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print">
            <a:extLst>
              <a:ext uri="{BEBA8EAE-BF5A-486C-A8C5-ECC9F3942E4B}">
                <a14:imgProps xmlns:a14="http://schemas.microsoft.com/office/drawing/2010/main" xmlns="">
                  <a14:imgLayer r:embed="rId9">
                    <a14:imgEffect>
                      <a14:brightnessContrast bright="20000" contrast="-40000"/>
                    </a14:imgEffect>
                  </a14:imgLayer>
                </a14:imgProps>
              </a:ext>
            </a:extLst>
          </a:blip>
          <a:srcRect r="49475" b="-1395"/>
          <a:stretch/>
        </p:blipFill>
        <p:spPr>
          <a:xfrm>
            <a:off x="162496" y="6199419"/>
            <a:ext cx="2057400" cy="647079"/>
          </a:xfrm>
          <a:prstGeom prst="rect">
            <a:avLst/>
          </a:prstGeom>
        </p:spPr>
      </p:pic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en-US" dirty="0"/>
              <a:t/>
            </a:r>
            <a:br>
              <a:rPr lang="en-US" dirty="0"/>
            </a:br>
            <a:r>
              <a:rPr lang="en-US" dirty="0"/>
              <a:t>Validations in Financial Accounting</a:t>
            </a:r>
            <a:br>
              <a:rPr lang="en-US" dirty="0"/>
            </a:b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None/>
            </a:pPr>
            <a:r>
              <a:rPr lang="en-US" b="1" u="sng" dirty="0"/>
              <a:t>Objective:</a:t>
            </a:r>
          </a:p>
          <a:p>
            <a:pPr>
              <a:buNone/>
            </a:pPr>
            <a:r>
              <a:rPr lang="en-US" sz="1800" b="1" dirty="0"/>
              <a:t>After the lesson you will be able to understand:</a:t>
            </a:r>
          </a:p>
          <a:p>
            <a:pPr>
              <a:buNone/>
            </a:pPr>
            <a:endParaRPr lang="en-US" sz="1800" b="1" dirty="0"/>
          </a:p>
          <a:p>
            <a:r>
              <a:rPr lang="en-US" sz="1800" dirty="0"/>
              <a:t>Validation Procedure</a:t>
            </a:r>
          </a:p>
          <a:p>
            <a:r>
              <a:rPr lang="en-US" sz="1800" dirty="0"/>
              <a:t>Messages</a:t>
            </a:r>
          </a:p>
          <a:p>
            <a:r>
              <a:rPr lang="en-US" sz="1800" dirty="0"/>
              <a:t>Field comparisons</a:t>
            </a:r>
          </a:p>
          <a:p>
            <a:endParaRPr lang="en-US" sz="1800" b="1" dirty="0"/>
          </a:p>
          <a:p>
            <a:pPr>
              <a:buNone/>
            </a:pPr>
            <a:endParaRPr lang="en-US" b="1" dirty="0"/>
          </a:p>
          <a:p>
            <a:pPr>
              <a:buNone/>
            </a:pPr>
            <a:r>
              <a:rPr lang="en-US" dirty="0"/>
              <a:t> </a:t>
            </a:r>
          </a:p>
        </p:txBody>
      </p:sp>
      <p:pic>
        <p:nvPicPr>
          <p:cNvPr id="4" name="Picture 2" descr="C:\Documents and Settings\rpotturi\Local Settings\Temporary Internet Files\Content.IE5\W5Y74T6F\MC900197655[1].wmf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400800" y="914400"/>
            <a:ext cx="1600200" cy="1388654"/>
          </a:xfrm>
          <a:prstGeom prst="rect">
            <a:avLst/>
          </a:prstGeom>
          <a:noFill/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98FECB47-8243-4664-AF67-4A6E1597B1A2}"/>
              </a:ext>
            </a:extLst>
          </p:cNvPr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8153400" y="71851"/>
            <a:ext cx="768279" cy="69014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xmlns="" id="{FA5E3249-521E-4C8E-A853-BCED8F39739F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BEBA8EAE-BF5A-486C-A8C5-ECC9F3942E4B}">
                <a14:imgProps xmlns:a14="http://schemas.microsoft.com/office/drawing/2010/main" xmlns="">
                  <a14:imgLayer r:embed="rId5">
                    <a14:imgEffect>
                      <a14:brightnessContrast bright="20000" contrast="-40000"/>
                    </a14:imgEffect>
                  </a14:imgLayer>
                </a14:imgProps>
              </a:ext>
            </a:extLst>
          </a:blip>
          <a:srcRect r="49475" b="-1395"/>
          <a:stretch/>
        </p:blipFill>
        <p:spPr>
          <a:xfrm>
            <a:off x="162496" y="6199419"/>
            <a:ext cx="2057400" cy="647079"/>
          </a:xfrm>
          <a:prstGeom prst="rect">
            <a:avLst/>
          </a:prstGeom>
        </p:spPr>
      </p:pic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alidation Procedur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1000" y="914400"/>
            <a:ext cx="7991475" cy="4867275"/>
          </a:xfrm>
        </p:spPr>
        <p:txBody>
          <a:bodyPr/>
          <a:lstStyle/>
          <a:p>
            <a:r>
              <a:rPr lang="en-US" sz="1600" dirty="0"/>
              <a:t>Validation consists of several steps (max of 999).</a:t>
            </a:r>
          </a:p>
          <a:p>
            <a:r>
              <a:rPr lang="en-US" sz="1600" dirty="0"/>
              <a:t>Each step has three parts</a:t>
            </a:r>
          </a:p>
          <a:p>
            <a:pPr lvl="2"/>
            <a:r>
              <a:rPr lang="en-US" dirty="0"/>
              <a:t>Prerequisite</a:t>
            </a:r>
          </a:p>
          <a:p>
            <a:pPr lvl="2"/>
            <a:r>
              <a:rPr lang="en-US" dirty="0"/>
              <a:t>Check</a:t>
            </a:r>
          </a:p>
          <a:p>
            <a:pPr lvl="2"/>
            <a:r>
              <a:rPr lang="en-US" dirty="0"/>
              <a:t>Message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pPr>
              <a:buNone/>
            </a:pPr>
            <a:endParaRPr lang="en-US" dirty="0"/>
          </a:p>
          <a:p>
            <a:endParaRPr lang="en-US" sz="1600" dirty="0"/>
          </a:p>
          <a:p>
            <a:pPr>
              <a:lnSpc>
                <a:spcPct val="100000"/>
              </a:lnSpc>
            </a:pPr>
            <a:r>
              <a:rPr lang="en-US" sz="1600" dirty="0"/>
              <a:t>If the prerequisite statement is satisfied (TRUE), a check is performed. If the result of the check is (FALSE), the system posts a message.</a:t>
            </a:r>
            <a:endParaRPr lang="en-US" sz="1600" i="1" u="sng" dirty="0"/>
          </a:p>
          <a:p>
            <a:pPr>
              <a:lnSpc>
                <a:spcPct val="100000"/>
              </a:lnSpc>
              <a:buNone/>
            </a:pPr>
            <a:r>
              <a:rPr lang="en-US" sz="1600" i="1" u="sng" dirty="0">
                <a:solidFill>
                  <a:schemeClr val="bg2"/>
                </a:solidFill>
              </a:rPr>
              <a:t>Example: </a:t>
            </a:r>
            <a:r>
              <a:rPr lang="en-US" sz="1600" i="1" dirty="0">
                <a:solidFill>
                  <a:schemeClr val="bg2"/>
                </a:solidFill>
              </a:rPr>
              <a:t>In certain invoices, the document date is to be compared with the posting data and, if the dates are not the same, a warning is to be issued.</a:t>
            </a:r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590800" y="1524000"/>
            <a:ext cx="6477000" cy="3352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5" name="TextBox 4"/>
          <p:cNvSpPr txBox="1"/>
          <p:nvPr/>
        </p:nvSpPr>
        <p:spPr>
          <a:xfrm>
            <a:off x="6858000" y="6211669"/>
            <a:ext cx="166808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dirty="0">
                <a:hlinkClick r:id="rId3" action="ppaction://hlinksldjump"/>
              </a:rPr>
              <a:t>Click to view </a:t>
            </a:r>
          </a:p>
          <a:p>
            <a:pPr algn="ctr"/>
            <a:r>
              <a:rPr lang="en-US" dirty="0">
                <a:hlinkClick r:id="rId3" action="ppaction://hlinksldjump"/>
              </a:rPr>
              <a:t>SAP SCREEN</a:t>
            </a: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xmlns="" id="{4939DD60-951A-4C26-99CE-6E82391B5A57}"/>
              </a:ext>
            </a:extLst>
          </p:cNvPr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8153400" y="71851"/>
            <a:ext cx="768279" cy="690149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xmlns="" id="{BC3950EB-4C20-4215-ADC4-7F39EEAD2389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BEBA8EAE-BF5A-486C-A8C5-ECC9F3942E4B}">
                <a14:imgProps xmlns:a14="http://schemas.microsoft.com/office/drawing/2010/main" xmlns="">
                  <a14:imgLayer r:embed="rId6">
                    <a14:imgEffect>
                      <a14:brightnessContrast bright="20000" contrast="-40000"/>
                    </a14:imgEffect>
                  </a14:imgLayer>
                </a14:imgProps>
              </a:ext>
            </a:extLst>
          </a:blip>
          <a:srcRect r="49475" b="-1395"/>
          <a:stretch/>
        </p:blipFill>
        <p:spPr>
          <a:xfrm>
            <a:off x="162496" y="6199419"/>
            <a:ext cx="2057400" cy="647079"/>
          </a:xfrm>
          <a:prstGeom prst="rect">
            <a:avLst/>
          </a:prstGeom>
        </p:spPr>
      </p:pic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ounded Rectangle 3"/>
          <p:cNvSpPr/>
          <p:nvPr/>
        </p:nvSpPr>
        <p:spPr bwMode="auto">
          <a:xfrm>
            <a:off x="533400" y="3505200"/>
            <a:ext cx="8305800" cy="1981200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 w="19050" cap="flat" cmpd="sng" algn="ctr">
            <a:solidFill>
              <a:srgbClr val="003366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000" b="1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alidation Message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algn="just"/>
            <a:r>
              <a:rPr lang="en-US" sz="1600" dirty="0"/>
              <a:t>You can use a predefined message or create a new message for validation.</a:t>
            </a:r>
          </a:p>
          <a:p>
            <a:pPr algn="just">
              <a:buNone/>
            </a:pPr>
            <a:r>
              <a:rPr lang="en-US" sz="1600" dirty="0"/>
              <a:t>Messages can have different meanings:</a:t>
            </a:r>
          </a:p>
          <a:p>
            <a:pPr lvl="2">
              <a:buNone/>
            </a:pPr>
            <a:r>
              <a:rPr lang="en-US" sz="1400" dirty="0"/>
              <a:t>I  = Information</a:t>
            </a:r>
          </a:p>
          <a:p>
            <a:pPr lvl="2">
              <a:buNone/>
            </a:pPr>
            <a:r>
              <a:rPr lang="en-US" sz="1400" dirty="0"/>
              <a:t>W = Warning</a:t>
            </a:r>
          </a:p>
          <a:p>
            <a:pPr lvl="2">
              <a:buNone/>
            </a:pPr>
            <a:r>
              <a:rPr lang="en-US" sz="1400" dirty="0"/>
              <a:t>E  = Error (requires that the entry be corrected)</a:t>
            </a:r>
          </a:p>
          <a:p>
            <a:pPr lvl="2">
              <a:buNone/>
            </a:pPr>
            <a:r>
              <a:rPr lang="en-US" sz="1400" dirty="0"/>
              <a:t>A  = Cancel</a:t>
            </a:r>
          </a:p>
          <a:p>
            <a:r>
              <a:rPr lang="en-US" sz="1600" dirty="0"/>
              <a:t>Example of a validation step</a:t>
            </a:r>
          </a:p>
          <a:p>
            <a:endParaRPr lang="en-US" sz="1600" dirty="0"/>
          </a:p>
          <a:p>
            <a:pPr>
              <a:buNone/>
            </a:pPr>
            <a:r>
              <a:rPr lang="en-US" sz="1600" dirty="0"/>
              <a:t>     </a:t>
            </a:r>
            <a:r>
              <a:rPr lang="en-US" sz="1600" b="1" dirty="0"/>
              <a:t>Prerequisite:</a:t>
            </a:r>
            <a:r>
              <a:rPr lang="en-US" sz="1600" dirty="0"/>
              <a:t>     BSEG-KUNNR= “0010002801”   (G/L account number)</a:t>
            </a:r>
          </a:p>
          <a:p>
            <a:pPr>
              <a:buNone/>
            </a:pPr>
            <a:r>
              <a:rPr lang="en-US" sz="1600" dirty="0"/>
              <a:t>	  </a:t>
            </a:r>
            <a:r>
              <a:rPr lang="en-US" sz="1600" b="1" dirty="0"/>
              <a:t>Check:              </a:t>
            </a:r>
            <a:r>
              <a:rPr lang="en-US" sz="1600" dirty="0"/>
              <a:t>BKPF-BLART = “EC”  (Document Type)</a:t>
            </a:r>
          </a:p>
          <a:p>
            <a:pPr>
              <a:buNone/>
            </a:pPr>
            <a:r>
              <a:rPr lang="en-US" sz="1600" dirty="0"/>
              <a:t>	  </a:t>
            </a:r>
            <a:r>
              <a:rPr lang="en-US" sz="1600" b="1" dirty="0"/>
              <a:t>Message:    </a:t>
            </a:r>
          </a:p>
          <a:p>
            <a:pPr>
              <a:buNone/>
            </a:pPr>
            <a:r>
              <a:rPr lang="en-US" sz="1600" dirty="0"/>
              <a:t>	</a:t>
            </a:r>
            <a:r>
              <a:rPr lang="en-US" sz="1600" u="sng" dirty="0"/>
              <a:t>Error message</a:t>
            </a:r>
            <a:r>
              <a:rPr lang="en-US" sz="1600" dirty="0"/>
              <a:t>  </a:t>
            </a:r>
            <a:r>
              <a:rPr lang="en-US" sz="1600" i="1" dirty="0"/>
              <a:t>You MUST use document type EC with Euro-control transactions!. </a:t>
            </a:r>
          </a:p>
          <a:p>
            <a:pPr>
              <a:buNone/>
            </a:pPr>
            <a:r>
              <a:rPr lang="en-US" sz="1600" dirty="0"/>
              <a:t>		</a:t>
            </a:r>
            <a:r>
              <a:rPr lang="en-US" sz="1600" i="1" dirty="0"/>
              <a:t>(error message created)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6858000" y="6211669"/>
            <a:ext cx="166808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dirty="0">
                <a:hlinkClick r:id="rId2" action="ppaction://hlinksldjump"/>
              </a:rPr>
              <a:t>Click to view </a:t>
            </a:r>
          </a:p>
          <a:p>
            <a:pPr algn="ctr"/>
            <a:r>
              <a:rPr lang="en-US" dirty="0">
                <a:hlinkClick r:id="rId2" action="ppaction://hlinksldjump"/>
              </a:rPr>
              <a:t>SAP SCREEN</a:t>
            </a:r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685800" y="5715000"/>
            <a:ext cx="63246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u="sng" dirty="0"/>
              <a:t>Note:</a:t>
            </a:r>
            <a:r>
              <a:rPr lang="en-US" dirty="0"/>
              <a:t> </a:t>
            </a:r>
            <a:r>
              <a:rPr lang="en-US" i="1" dirty="0"/>
              <a:t>In validations “&amp;” is used as a wildcard.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xmlns="" id="{2D9201FF-14E3-4E2F-B024-05032152A667}"/>
              </a:ext>
            </a:extLst>
          </p:cNvPr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8153400" y="71851"/>
            <a:ext cx="768279" cy="690149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xmlns="" id="{8CDFADB2-403C-4B50-9115-F7DF3C21F7CA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BEBA8EAE-BF5A-486C-A8C5-ECC9F3942E4B}">
                <a14:imgProps xmlns:a14="http://schemas.microsoft.com/office/drawing/2010/main" xmlns="">
                  <a14:imgLayer r:embed="rId5">
                    <a14:imgEffect>
                      <a14:brightnessContrast bright="20000" contrast="-40000"/>
                    </a14:imgEffect>
                  </a14:imgLayer>
                </a14:imgProps>
              </a:ext>
            </a:extLst>
          </a:blip>
          <a:srcRect r="49475" b="-1395"/>
          <a:stretch/>
        </p:blipFill>
        <p:spPr>
          <a:xfrm>
            <a:off x="162496" y="6199419"/>
            <a:ext cx="2057400" cy="647079"/>
          </a:xfrm>
          <a:prstGeom prst="rect">
            <a:avLst/>
          </a:prstGeom>
        </p:spPr>
      </p:pic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ield Comparison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0" y="838200"/>
            <a:ext cx="8077200" cy="4867275"/>
          </a:xfrm>
        </p:spPr>
        <p:txBody>
          <a:bodyPr/>
          <a:lstStyle/>
          <a:p>
            <a:r>
              <a:rPr lang="en-US" sz="1600" dirty="0"/>
              <a:t>Using Boolean Logic, you can define different types of logical statements.</a:t>
            </a:r>
          </a:p>
          <a:p>
            <a:pPr>
              <a:buNone/>
            </a:pPr>
            <a:r>
              <a:rPr lang="en-US" sz="1600" u="sng" dirty="0"/>
              <a:t>Following in logical statements:</a:t>
            </a:r>
          </a:p>
          <a:p>
            <a:pPr>
              <a:buNone/>
            </a:pPr>
            <a:endParaRPr lang="en-US" sz="1600" dirty="0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3352800"/>
            <a:ext cx="5019675" cy="3505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5" name="TextBox 4"/>
          <p:cNvSpPr txBox="1"/>
          <p:nvPr/>
        </p:nvSpPr>
        <p:spPr>
          <a:xfrm>
            <a:off x="4648200" y="1371600"/>
            <a:ext cx="4495800" cy="292387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r>
              <a:rPr lang="en-US" sz="1600" b="1" dirty="0"/>
              <a:t>Partial field comparison</a:t>
            </a:r>
            <a:r>
              <a:rPr lang="en-US" sz="1600" dirty="0"/>
              <a:t>: </a:t>
            </a:r>
          </a:p>
          <a:p>
            <a:r>
              <a:rPr lang="en-US" sz="1400" dirty="0"/>
              <a:t>	Only a part of field can be compared.</a:t>
            </a:r>
          </a:p>
          <a:p>
            <a:endParaRPr lang="en-US" sz="1400" dirty="0"/>
          </a:p>
          <a:p>
            <a:r>
              <a:rPr lang="en-US" sz="1400" dirty="0"/>
              <a:t>Example: </a:t>
            </a:r>
            <a:r>
              <a:rPr lang="en-US" sz="1400" b="1" dirty="0"/>
              <a:t>BSEG-HKONT :3:</a:t>
            </a:r>
          </a:p>
          <a:p>
            <a:r>
              <a:rPr lang="en-US" sz="1400" dirty="0"/>
              <a:t>The system checks only the third digit of the field</a:t>
            </a:r>
          </a:p>
          <a:p>
            <a:endParaRPr lang="en-US" sz="1400" i="1" dirty="0"/>
          </a:p>
          <a:p>
            <a:r>
              <a:rPr lang="en-US" sz="1400" dirty="0"/>
              <a:t>Example: </a:t>
            </a:r>
            <a:r>
              <a:rPr lang="en-US" sz="1400" b="1" dirty="0"/>
              <a:t>BSEG-HKONT :1-3:</a:t>
            </a:r>
          </a:p>
          <a:p>
            <a:r>
              <a:rPr lang="en-US" sz="1400" dirty="0"/>
              <a:t>The system checks only the first three digits of the field </a:t>
            </a:r>
          </a:p>
          <a:p>
            <a:endParaRPr lang="en-US" sz="1400" dirty="0"/>
          </a:p>
          <a:p>
            <a:r>
              <a:rPr lang="en-US" sz="1400" dirty="0"/>
              <a:t>Example: </a:t>
            </a:r>
            <a:r>
              <a:rPr lang="en-US" sz="1400" b="1" dirty="0"/>
              <a:t>BSEG-HKONT: 3-:</a:t>
            </a:r>
          </a:p>
          <a:p>
            <a:r>
              <a:rPr lang="en-US" sz="1400" dirty="0"/>
              <a:t>The system checks from digit 3 to the end of field</a:t>
            </a:r>
          </a:p>
          <a:p>
            <a:endParaRPr lang="en-US" sz="1400" dirty="0"/>
          </a:p>
          <a:p>
            <a:r>
              <a:rPr lang="en-US" sz="1400" dirty="0"/>
              <a:t>(Above all checks if the condition is true or false)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228600" y="2590800"/>
            <a:ext cx="3733800" cy="800219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pPr>
              <a:buNone/>
            </a:pPr>
            <a:r>
              <a:rPr lang="en-US" sz="1400" b="1" dirty="0"/>
              <a:t>Validate field contents for certain values:</a:t>
            </a:r>
          </a:p>
          <a:p>
            <a:pPr>
              <a:buNone/>
            </a:pPr>
            <a:r>
              <a:rPr lang="en-US" sz="1400" b="1" dirty="0"/>
              <a:t>     BKPF-BLART = ‘SA‘</a:t>
            </a:r>
          </a:p>
          <a:p>
            <a:endParaRPr 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228600" y="1676400"/>
            <a:ext cx="3733799" cy="738664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pPr>
              <a:buNone/>
            </a:pPr>
            <a:r>
              <a:rPr lang="en-US" sz="1400" b="1" dirty="0"/>
              <a:t>Compare fields with one another</a:t>
            </a:r>
            <a:r>
              <a:rPr lang="en-US" sz="1400" dirty="0"/>
              <a:t>:</a:t>
            </a:r>
          </a:p>
          <a:p>
            <a:pPr>
              <a:buNone/>
            </a:pPr>
            <a:r>
              <a:rPr lang="en-US" sz="1400" b="1" dirty="0"/>
              <a:t>    BKPF-BUDAT &lt;&gt; BKPF-BLDAT</a:t>
            </a:r>
          </a:p>
          <a:p>
            <a:endParaRPr lang="en-US" sz="1400" dirty="0"/>
          </a:p>
        </p:txBody>
      </p:sp>
      <p:sp>
        <p:nvSpPr>
          <p:cNvPr id="9" name="TextBox 8"/>
          <p:cNvSpPr txBox="1"/>
          <p:nvPr/>
        </p:nvSpPr>
        <p:spPr>
          <a:xfrm>
            <a:off x="4724400" y="5257800"/>
            <a:ext cx="4419600" cy="1200329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r>
              <a:rPr lang="en-US" sz="1600" b="1" dirty="0"/>
              <a:t>Compare text patterns </a:t>
            </a:r>
            <a:r>
              <a:rPr lang="en-US" sz="1400" b="1" dirty="0"/>
              <a:t>in your statements using the LIKE keyword.</a:t>
            </a:r>
          </a:p>
          <a:p>
            <a:endParaRPr lang="en-US" sz="1400" dirty="0"/>
          </a:p>
          <a:p>
            <a:r>
              <a:rPr lang="en-US" sz="1400" dirty="0"/>
              <a:t>Example: </a:t>
            </a:r>
            <a:r>
              <a:rPr lang="en-US" sz="1400" b="1" dirty="0"/>
              <a:t>BSEG-KOSTL LIKE .*3*3.</a:t>
            </a:r>
            <a:r>
              <a:rPr lang="en-US" sz="1400" dirty="0"/>
              <a:t> </a:t>
            </a:r>
          </a:p>
          <a:p>
            <a:r>
              <a:rPr lang="en-US" sz="1400" dirty="0"/>
              <a:t>(for example, 363, 323, and 2303).</a:t>
            </a:r>
            <a:endParaRPr lang="en-US" sz="1400" b="1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xmlns="" id="{0B82F145-BFEC-4E65-955F-D33F3C092124}"/>
              </a:ext>
            </a:extLst>
          </p:cNvPr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8153400" y="71851"/>
            <a:ext cx="768279" cy="690149"/>
          </a:xfrm>
          <a:prstGeom prst="rect">
            <a:avLst/>
          </a:prstGeom>
        </p:spPr>
      </p:pic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alidation Configuration (T Code: OB28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1001" y="914400"/>
            <a:ext cx="8229600" cy="5105401"/>
          </a:xfrm>
        </p:spPr>
        <p:txBody>
          <a:bodyPr/>
          <a:lstStyle/>
          <a:p>
            <a:pPr algn="just"/>
            <a:r>
              <a:rPr lang="en-US" dirty="0"/>
              <a:t>Path: SAP Reference IMG </a:t>
            </a:r>
            <a:r>
              <a:rPr lang="en-US" dirty="0">
                <a:sym typeface="Wingdings" pitchFamily="2" charset="2"/>
              </a:rPr>
              <a:t> Financial Accounting  Financial      Accounting Global Setting  Document  Line Item  Define Validations for Posting  Environment  Validation</a:t>
            </a:r>
            <a:endParaRPr lang="en-US" dirty="0"/>
          </a:p>
          <a:p>
            <a:r>
              <a:rPr lang="en-US" dirty="0"/>
              <a:t>While posting values to the </a:t>
            </a:r>
            <a:r>
              <a:rPr lang="en-US" dirty="0" err="1"/>
              <a:t>Gl</a:t>
            </a:r>
            <a:r>
              <a:rPr lang="en-US" dirty="0"/>
              <a:t> A/c '0010002801‘ an Document type should be EC only.</a:t>
            </a:r>
          </a:p>
          <a:p>
            <a:pPr>
              <a:buNone/>
            </a:pPr>
            <a:r>
              <a:rPr lang="en-US" dirty="0"/>
              <a:t>Following steps need to execute .</a:t>
            </a:r>
          </a:p>
          <a:p>
            <a:pPr marL="457200" indent="-457200">
              <a:buAutoNum type="arabicPeriod"/>
            </a:pPr>
            <a:r>
              <a:rPr lang="en-US" dirty="0"/>
              <a:t>Define the step and set the Prerequisite.</a:t>
            </a:r>
          </a:p>
          <a:p>
            <a:pPr marL="457200" indent="-457200">
              <a:buAutoNum type="arabicPeriod"/>
            </a:pPr>
            <a:r>
              <a:rPr lang="en-US" dirty="0"/>
              <a:t>Check the Validation ( value on which validation can be done)</a:t>
            </a:r>
          </a:p>
          <a:p>
            <a:pPr marL="457200" indent="-457200">
              <a:buAutoNum type="arabicPeriod"/>
            </a:pPr>
            <a:r>
              <a:rPr lang="en-US" dirty="0"/>
              <a:t>Insert the Message which should reflect incase condition doesn't get fulfill.</a:t>
            </a:r>
          </a:p>
          <a:p>
            <a:pPr marL="457200" indent="-457200">
              <a:buNone/>
            </a:pPr>
            <a:r>
              <a:rPr lang="en-US" dirty="0"/>
              <a:t> </a:t>
            </a:r>
            <a:r>
              <a:rPr lang="en-US" b="1" dirty="0"/>
              <a:t>Step-1</a:t>
            </a:r>
          </a:p>
          <a:p>
            <a:pPr marL="457200" indent="-457200">
              <a:buNone/>
            </a:pPr>
            <a:r>
              <a:rPr lang="en-US" dirty="0"/>
              <a:t>Prerequisite defined as</a:t>
            </a:r>
          </a:p>
          <a:p>
            <a:pPr marL="457200" indent="-457200">
              <a:buNone/>
            </a:pPr>
            <a:r>
              <a:rPr lang="en-US" dirty="0"/>
              <a:t> BSEG-KUNNR = '0010002801'</a:t>
            </a:r>
          </a:p>
          <a:p>
            <a:pPr marL="457200" indent="-457200">
              <a:buNone/>
            </a:pPr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xmlns="" id="{836229C8-8EAA-482F-A840-38B630EE774F}"/>
              </a:ext>
            </a:extLst>
          </p:cNvPr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8153400" y="71851"/>
            <a:ext cx="768279" cy="690149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6D2AD463-AC84-4225-BBC3-7E7A3C7832D1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BEBA8EAE-BF5A-486C-A8C5-ECC9F3942E4B}">
                <a14:imgProps xmlns:a14="http://schemas.microsoft.com/office/drawing/2010/main" xmlns="">
                  <a14:imgLayer r:embed="rId5">
                    <a14:imgEffect>
                      <a14:brightnessContrast bright="20000" contrast="-40000"/>
                    </a14:imgEffect>
                  </a14:imgLayer>
                </a14:imgProps>
              </a:ext>
            </a:extLst>
          </a:blip>
          <a:srcRect r="49475" b="-1395"/>
          <a:stretch/>
        </p:blipFill>
        <p:spPr>
          <a:xfrm>
            <a:off x="162496" y="6199419"/>
            <a:ext cx="2057400" cy="647079"/>
          </a:xfrm>
          <a:prstGeom prst="rect">
            <a:avLst/>
          </a:prstGeom>
        </p:spPr>
      </p:pic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alidation Configuration (T Code: OB28) Cont…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3400" y="914400"/>
            <a:ext cx="7991475" cy="4867275"/>
          </a:xfrm>
        </p:spPr>
        <p:txBody>
          <a:bodyPr/>
          <a:lstStyle/>
          <a:p>
            <a:pPr marL="457200" indent="-457200">
              <a:buNone/>
            </a:pPr>
            <a:r>
              <a:rPr lang="en-US" dirty="0"/>
              <a:t>Meaning:</a:t>
            </a:r>
          </a:p>
          <a:p>
            <a:pPr marL="457200" indent="-457200" algn="just">
              <a:buNone/>
            </a:pPr>
            <a:r>
              <a:rPr lang="en-US" dirty="0"/>
              <a:t>GL Account No:'0010002801‘</a:t>
            </a:r>
          </a:p>
          <a:p>
            <a:r>
              <a:rPr lang="en-US" b="1" dirty="0"/>
              <a:t>Step-2 </a:t>
            </a:r>
          </a:p>
          <a:p>
            <a:pPr>
              <a:buNone/>
            </a:pPr>
            <a:r>
              <a:rPr lang="en-US" dirty="0"/>
              <a:t>Define the Validation Check.</a:t>
            </a:r>
          </a:p>
          <a:p>
            <a:r>
              <a:rPr lang="en-US" dirty="0"/>
              <a:t>BKPF-BLART = 'EC'</a:t>
            </a:r>
          </a:p>
          <a:p>
            <a:pPr>
              <a:buNone/>
            </a:pPr>
            <a:r>
              <a:rPr lang="en-US" dirty="0"/>
              <a:t>Meaning:- Document type = “EC”</a:t>
            </a:r>
          </a:p>
          <a:p>
            <a:pPr>
              <a:buNone/>
            </a:pPr>
            <a:r>
              <a:rPr lang="en-US" dirty="0"/>
              <a:t>Step-3</a:t>
            </a:r>
          </a:p>
          <a:p>
            <a:pPr>
              <a:buNone/>
            </a:pPr>
            <a:r>
              <a:rPr lang="en-US" dirty="0"/>
              <a:t>Incase condition doesn't fulfilled then system should pop-up the Message.</a:t>
            </a:r>
          </a:p>
          <a:p>
            <a:pPr>
              <a:buNone/>
            </a:pPr>
            <a:r>
              <a:rPr lang="en-US" dirty="0"/>
              <a:t>“</a:t>
            </a:r>
            <a:r>
              <a:rPr lang="en-US" b="1" kern="1200" dirty="0"/>
              <a:t>You MUST use document type EC with Euro-control transactions!</a:t>
            </a:r>
            <a:r>
              <a:rPr lang="en-US" dirty="0"/>
              <a:t>” </a:t>
            </a:r>
          </a:p>
          <a:p>
            <a:pPr>
              <a:buNone/>
            </a:pPr>
            <a:r>
              <a:rPr lang="en-US" dirty="0"/>
              <a:t/>
            </a:r>
            <a:br>
              <a:rPr lang="en-US" dirty="0"/>
            </a:br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xmlns="" id="{1D3FD80E-920D-4DBB-96B1-D5E52343378A}"/>
              </a:ext>
            </a:extLst>
          </p:cNvPr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8153400" y="71851"/>
            <a:ext cx="768279" cy="690149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6144E503-3FFC-45C8-956A-AF1E1E739C44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BEBA8EAE-BF5A-486C-A8C5-ECC9F3942E4B}">
                <a14:imgProps xmlns:a14="http://schemas.microsoft.com/office/drawing/2010/main" xmlns="">
                  <a14:imgLayer r:embed="rId5">
                    <a14:imgEffect>
                      <a14:brightnessContrast bright="20000" contrast="-40000"/>
                    </a14:imgEffect>
                  </a14:imgLayer>
                </a14:imgProps>
              </a:ext>
            </a:extLst>
          </a:blip>
          <a:srcRect r="49475" b="-1395"/>
          <a:stretch/>
        </p:blipFill>
        <p:spPr>
          <a:xfrm>
            <a:off x="162496" y="6199419"/>
            <a:ext cx="2057400" cy="647079"/>
          </a:xfrm>
          <a:prstGeom prst="rect">
            <a:avLst/>
          </a:prstGeom>
        </p:spPr>
      </p:pic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Content Placeholder 2"/>
          <p:cNvSpPr>
            <a:spLocks noGrp="1"/>
          </p:cNvSpPr>
          <p:nvPr>
            <p:ph idx="1"/>
          </p:nvPr>
        </p:nvSpPr>
        <p:spPr>
          <a:xfrm>
            <a:off x="381000" y="838200"/>
            <a:ext cx="7991475" cy="4867275"/>
          </a:xfrm>
        </p:spPr>
        <p:txBody>
          <a:bodyPr/>
          <a:lstStyle/>
          <a:p>
            <a:pPr>
              <a:buNone/>
            </a:pPr>
            <a:endParaRPr lang="en-US" sz="1800" dirty="0"/>
          </a:p>
          <a:p>
            <a:r>
              <a:rPr lang="en-US" sz="1600" dirty="0"/>
              <a:t>Explain the ways in which validation and substitution can be used using a few examples</a:t>
            </a:r>
          </a:p>
          <a:p>
            <a:r>
              <a:rPr lang="en-US" sz="1600" dirty="0"/>
              <a:t>Identify the areas of application and call up points of validation and substitution in Financial Accounting</a:t>
            </a:r>
          </a:p>
          <a:p>
            <a:r>
              <a:rPr lang="en-US" sz="1600" dirty="0"/>
              <a:t>Enter rules and define the Customizing of system messages to be output  (prerequisites, check, generation)</a:t>
            </a:r>
          </a:p>
          <a:p>
            <a:r>
              <a:rPr lang="en-US" sz="1600" dirty="0"/>
              <a:t>Execute validations using your own rules and defined system messages</a:t>
            </a:r>
          </a:p>
          <a:p>
            <a:r>
              <a:rPr lang="en-US" sz="1600" dirty="0"/>
              <a:t>Provide the prerequisites for substitution</a:t>
            </a:r>
          </a:p>
          <a:p>
            <a:r>
              <a:rPr lang="en-US" sz="1600" dirty="0"/>
              <a:t>Define your own rules, specify substituted values and execute substitutions</a:t>
            </a:r>
          </a:p>
          <a:p>
            <a:r>
              <a:rPr lang="en-US" sz="1600" dirty="0"/>
              <a:t>Explain how to use rules, sets and use them</a:t>
            </a:r>
            <a:endParaRPr lang="en-US" sz="1800" dirty="0"/>
          </a:p>
        </p:txBody>
      </p:sp>
      <p:sp>
        <p:nvSpPr>
          <p:cNvPr id="4" name="Title 1"/>
          <p:cNvSpPr txBox="1">
            <a:spLocks/>
          </p:cNvSpPr>
          <p:nvPr/>
        </p:nvSpPr>
        <p:spPr bwMode="auto">
          <a:xfrm>
            <a:off x="198439" y="225426"/>
            <a:ext cx="8377237" cy="5476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80000" tIns="36000" rIns="108000" bIns="36000" anchor="ctr"/>
          <a:lstStyle/>
          <a:p>
            <a:pPr eaLnBrk="0" hangingPunct="0">
              <a:lnSpc>
                <a:spcPct val="90000"/>
              </a:lnSpc>
              <a:defRPr/>
            </a:pPr>
            <a:endParaRPr lang="en-US" sz="2400" b="1" kern="0" dirty="0">
              <a:latin typeface="+mj-lt"/>
              <a:ea typeface="+mj-ea"/>
              <a:cs typeface="+mj-cs"/>
            </a:endParaRPr>
          </a:p>
        </p:txBody>
      </p:sp>
      <p:sp>
        <p:nvSpPr>
          <p:cNvPr id="7172" name="Title 4"/>
          <p:cNvSpPr>
            <a:spLocks noGrp="1"/>
          </p:cNvSpPr>
          <p:nvPr>
            <p:ph type="title"/>
          </p:nvPr>
        </p:nvSpPr>
        <p:spPr>
          <a:xfrm>
            <a:off x="304801" y="228600"/>
            <a:ext cx="8377239" cy="547688"/>
          </a:xfrm>
        </p:spPr>
        <p:txBody>
          <a:bodyPr/>
          <a:lstStyle/>
          <a:p>
            <a:r>
              <a:rPr lang="en-US" dirty="0"/>
              <a:t>COURSE OBJECTIVES</a:t>
            </a:r>
          </a:p>
        </p:txBody>
      </p:sp>
      <p:pic>
        <p:nvPicPr>
          <p:cNvPr id="7173" name="Picture 5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105400" y="3962400"/>
            <a:ext cx="3695700" cy="2924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xmlns="" id="{8158A6B2-106E-443B-8500-96FBDEE02C49}"/>
              </a:ext>
            </a:extLst>
          </p:cNvPr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8153400" y="71851"/>
            <a:ext cx="768279" cy="690149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xmlns="" id="{1A7FE629-1B20-4FC5-8DEB-3C454DEF932D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BEBA8EAE-BF5A-486C-A8C5-ECC9F3942E4B}">
                <a14:imgProps xmlns:a14="http://schemas.microsoft.com/office/drawing/2010/main" xmlns="">
                  <a14:imgLayer r:embed="rId5">
                    <a14:imgEffect>
                      <a14:brightnessContrast bright="20000" contrast="-40000"/>
                    </a14:imgEffect>
                  </a14:imgLayer>
                </a14:imgProps>
              </a:ext>
            </a:extLst>
          </a:blip>
          <a:srcRect r="49475" b="-1395"/>
          <a:stretch/>
        </p:blipFill>
        <p:spPr>
          <a:xfrm>
            <a:off x="162496" y="6199419"/>
            <a:ext cx="2057400" cy="647079"/>
          </a:xfrm>
          <a:prstGeom prst="rect">
            <a:avLst/>
          </a:prstGeom>
        </p:spPr>
      </p:pic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alidation Configuration (T Code: OB28) Cont…</a:t>
            </a:r>
          </a:p>
        </p:txBody>
      </p:sp>
      <p:pic>
        <p:nvPicPr>
          <p:cNvPr id="1026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997678" y="1152525"/>
            <a:ext cx="7234368" cy="4867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xmlns="" id="{44734CA1-3D99-4E49-B34B-A1C1E82887D8}"/>
              </a:ext>
            </a:extLst>
          </p:cNvPr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8153400" y="71851"/>
            <a:ext cx="768279" cy="690149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F5F5D4CC-3BB8-4C93-B078-535DB40C4840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BEBA8EAE-BF5A-486C-A8C5-ECC9F3942E4B}">
                <a14:imgProps xmlns:a14="http://schemas.microsoft.com/office/drawing/2010/main" xmlns="">
                  <a14:imgLayer r:embed="rId6">
                    <a14:imgEffect>
                      <a14:brightnessContrast bright="20000" contrast="-40000"/>
                    </a14:imgEffect>
                  </a14:imgLayer>
                </a14:imgProps>
              </a:ext>
            </a:extLst>
          </a:blip>
          <a:srcRect r="49475" b="-1395"/>
          <a:stretch/>
        </p:blipFill>
        <p:spPr>
          <a:xfrm>
            <a:off x="162496" y="6199419"/>
            <a:ext cx="2057400" cy="647079"/>
          </a:xfrm>
          <a:prstGeom prst="rect">
            <a:avLst/>
          </a:prstGeom>
        </p:spPr>
      </p:pic>
    </p:spTree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alidation Configuration (T Code: OB28) Cont…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kern="1200" dirty="0"/>
              <a:t>If the Validation is more complex nature, better go for the User Exit option. </a:t>
            </a:r>
          </a:p>
          <a:p>
            <a:r>
              <a:rPr lang="en-US" kern="1200" dirty="0"/>
              <a:t>User Exit will be developed with the help of ABAP team and assigned at Validation – Check place, to perform the given validation check.</a:t>
            </a:r>
          </a:p>
          <a:p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xmlns="" id="{045532C3-BC55-46F8-8676-7D10134D4D95}"/>
              </a:ext>
            </a:extLst>
          </p:cNvPr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8153400" y="71851"/>
            <a:ext cx="768279" cy="690149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C8D7AD8A-52AB-4823-AF83-1CBC4665DD26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BEBA8EAE-BF5A-486C-A8C5-ECC9F3942E4B}">
                <a14:imgProps xmlns:a14="http://schemas.microsoft.com/office/drawing/2010/main" xmlns="">
                  <a14:imgLayer r:embed="rId5">
                    <a14:imgEffect>
                      <a14:brightnessContrast bright="20000" contrast="-40000"/>
                    </a14:imgEffect>
                  </a14:imgLayer>
                </a14:imgProps>
              </a:ext>
            </a:extLst>
          </a:blip>
          <a:srcRect r="49475" b="-1395"/>
          <a:stretch/>
        </p:blipFill>
        <p:spPr>
          <a:xfrm>
            <a:off x="162496" y="6199419"/>
            <a:ext cx="2057400" cy="647079"/>
          </a:xfrm>
          <a:prstGeom prst="rect">
            <a:avLst/>
          </a:prstGeom>
        </p:spPr>
      </p:pic>
    </p:spTree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alidation Configuration (T Code: OB28) Cont…</a:t>
            </a:r>
          </a:p>
        </p:txBody>
      </p:sp>
      <p:pic>
        <p:nvPicPr>
          <p:cNvPr id="2051" name="Picture 3"/>
          <p:cNvPicPr>
            <a:picLocks noGrp="1" noChangeAspect="1" noChangeArrowheads="1"/>
          </p:cNvPicPr>
          <p:nvPr>
            <p:ph idx="1"/>
          </p:nvPr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19125" y="1586337"/>
            <a:ext cx="7991475" cy="39996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xmlns="" id="{9EA45220-10F9-437E-BE3A-4C6D89730142}"/>
              </a:ext>
            </a:extLst>
          </p:cNvPr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8153400" y="71851"/>
            <a:ext cx="768279" cy="690149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2958621D-4F48-45C4-A88D-C08FB9213E3A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BEBA8EAE-BF5A-486C-A8C5-ECC9F3942E4B}">
                <a14:imgProps xmlns:a14="http://schemas.microsoft.com/office/drawing/2010/main" xmlns="">
                  <a14:imgLayer r:embed="rId6">
                    <a14:imgEffect>
                      <a14:brightnessContrast bright="20000" contrast="-40000"/>
                    </a14:imgEffect>
                  </a14:imgLayer>
                </a14:imgProps>
              </a:ext>
            </a:extLst>
          </a:blip>
          <a:srcRect r="49475" b="-1395"/>
          <a:stretch/>
        </p:blipFill>
        <p:spPr>
          <a:xfrm>
            <a:off x="162496" y="6199419"/>
            <a:ext cx="2057400" cy="647079"/>
          </a:xfrm>
          <a:prstGeom prst="rect">
            <a:avLst/>
          </a:prstGeom>
        </p:spPr>
      </p:pic>
    </p:spTree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/>
            </a:r>
            <a:br>
              <a:rPr lang="en-US" dirty="0"/>
            </a:br>
            <a:r>
              <a:rPr lang="en-US" dirty="0"/>
              <a:t>Validations in Financial Accounting</a:t>
            </a:r>
            <a:br>
              <a:rPr lang="en-US" dirty="0"/>
            </a:b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None/>
            </a:pPr>
            <a:r>
              <a:rPr lang="en-US" b="1" u="sng" dirty="0"/>
              <a:t>Summary:</a:t>
            </a:r>
            <a:endParaRPr lang="en-US" sz="1800" b="1" u="sng" dirty="0"/>
          </a:p>
          <a:p>
            <a:pPr>
              <a:buNone/>
            </a:pPr>
            <a:r>
              <a:rPr lang="en-US" sz="1800" b="1" dirty="0"/>
              <a:t>Now you should be able to understand :</a:t>
            </a:r>
          </a:p>
          <a:p>
            <a:pPr>
              <a:buNone/>
            </a:pPr>
            <a:endParaRPr lang="en-US" sz="1800" b="1" dirty="0"/>
          </a:p>
          <a:p>
            <a:r>
              <a:rPr lang="en-US" sz="1800" dirty="0"/>
              <a:t>Validation Procedure</a:t>
            </a:r>
          </a:p>
          <a:p>
            <a:r>
              <a:rPr lang="en-US" sz="1800" dirty="0"/>
              <a:t>Messages</a:t>
            </a:r>
          </a:p>
          <a:p>
            <a:r>
              <a:rPr lang="en-US" sz="1800" dirty="0"/>
              <a:t>Field Comparisons</a:t>
            </a:r>
          </a:p>
          <a:p>
            <a:pPr>
              <a:buNone/>
            </a:pPr>
            <a:endParaRPr lang="en-US" sz="1800" b="1" dirty="0"/>
          </a:p>
          <a:p>
            <a:endParaRPr lang="en-US" sz="1800" b="1" dirty="0"/>
          </a:p>
        </p:txBody>
      </p:sp>
      <p:pic>
        <p:nvPicPr>
          <p:cNvPr id="4" name="Picture 3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315200" y="2971800"/>
            <a:ext cx="1676400" cy="3352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ABF8F976-1837-4688-AEAD-A055A5F0C0EF}"/>
              </a:ext>
            </a:extLst>
          </p:cNvPr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8153400" y="71851"/>
            <a:ext cx="768279" cy="69014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xmlns="" id="{9010BB96-CAB7-4927-97F4-EDFEC1C4B8CB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BEBA8EAE-BF5A-486C-A8C5-ECC9F3942E4B}">
                <a14:imgProps xmlns:a14="http://schemas.microsoft.com/office/drawing/2010/main" xmlns="">
                  <a14:imgLayer r:embed="rId5">
                    <a14:imgEffect>
                      <a14:brightnessContrast bright="20000" contrast="-40000"/>
                    </a14:imgEffect>
                  </a14:imgLayer>
                </a14:imgProps>
              </a:ext>
            </a:extLst>
          </a:blip>
          <a:srcRect r="49475" b="-1395"/>
          <a:stretch/>
        </p:blipFill>
        <p:spPr>
          <a:xfrm>
            <a:off x="162496" y="6199419"/>
            <a:ext cx="2057400" cy="647079"/>
          </a:xfrm>
          <a:prstGeom prst="rect">
            <a:avLst/>
          </a:prstGeom>
        </p:spPr>
      </p:pic>
    </p:spTree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ENTS</a:t>
            </a:r>
          </a:p>
        </p:txBody>
      </p:sp>
      <p:graphicFrame>
        <p:nvGraphicFramePr>
          <p:cNvPr id="4" name="Diagram 3"/>
          <p:cNvGraphicFramePr/>
          <p:nvPr/>
        </p:nvGraphicFramePr>
        <p:xfrm>
          <a:off x="838200" y="1143000"/>
          <a:ext cx="7391400" cy="47244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A1A9FAC7-2968-4451-972A-D4EB701E37F6}"/>
              </a:ext>
            </a:extLst>
          </p:cNvPr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8153400" y="71851"/>
            <a:ext cx="768279" cy="69014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xmlns="" id="{5AA4F49E-40E3-44CC-B3CB-D5DBBE9F03E5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print">
            <a:extLst>
              <a:ext uri="{BEBA8EAE-BF5A-486C-A8C5-ECC9F3942E4B}">
                <a14:imgProps xmlns:a14="http://schemas.microsoft.com/office/drawing/2010/main" xmlns="">
                  <a14:imgLayer r:embed="rId9">
                    <a14:imgEffect>
                      <a14:brightnessContrast bright="20000" contrast="-40000"/>
                    </a14:imgEffect>
                  </a14:imgLayer>
                </a14:imgProps>
              </a:ext>
            </a:extLst>
          </a:blip>
          <a:srcRect r="49475" b="-1395"/>
          <a:stretch/>
        </p:blipFill>
        <p:spPr>
          <a:xfrm>
            <a:off x="162496" y="6199419"/>
            <a:ext cx="2057400" cy="647079"/>
          </a:xfrm>
          <a:prstGeom prst="rect">
            <a:avLst/>
          </a:prstGeom>
        </p:spPr>
      </p:pic>
    </p:spTree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en-US" dirty="0"/>
              <a:t>Substitutions in Financial Accounting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None/>
            </a:pPr>
            <a:r>
              <a:rPr lang="en-US" b="1" u="sng" dirty="0"/>
              <a:t>Objective:</a:t>
            </a:r>
          </a:p>
          <a:p>
            <a:pPr>
              <a:buNone/>
            </a:pPr>
            <a:r>
              <a:rPr lang="en-US" sz="1800" b="1" dirty="0"/>
              <a:t>After the lesson you will be able to understand:</a:t>
            </a:r>
          </a:p>
          <a:p>
            <a:pPr>
              <a:buNone/>
            </a:pPr>
            <a:endParaRPr lang="en-US" sz="1800" b="1" dirty="0"/>
          </a:p>
          <a:p>
            <a:r>
              <a:rPr lang="en-US" sz="1800" dirty="0"/>
              <a:t>Substitution Procedure</a:t>
            </a:r>
          </a:p>
          <a:p>
            <a:r>
              <a:rPr lang="en-US" sz="1800" dirty="0"/>
              <a:t>Methods of Substitution</a:t>
            </a:r>
          </a:p>
          <a:p>
            <a:pPr>
              <a:buNone/>
            </a:pPr>
            <a:endParaRPr lang="en-US" b="1" dirty="0"/>
          </a:p>
          <a:p>
            <a:pPr>
              <a:buNone/>
            </a:pPr>
            <a:r>
              <a:rPr lang="en-US" dirty="0"/>
              <a:t> </a:t>
            </a:r>
          </a:p>
        </p:txBody>
      </p:sp>
      <p:pic>
        <p:nvPicPr>
          <p:cNvPr id="4" name="Picture 2" descr="C:\Documents and Settings\rpotturi\Local Settings\Temporary Internet Files\Content.IE5\W5Y74T6F\MC900197655[1].wmf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400800" y="914400"/>
            <a:ext cx="1600200" cy="1388654"/>
          </a:xfrm>
          <a:prstGeom prst="rect">
            <a:avLst/>
          </a:prstGeom>
          <a:noFill/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44518BBB-6724-4051-9C61-DC9BB20DC91F}"/>
              </a:ext>
            </a:extLst>
          </p:cNvPr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8153400" y="71851"/>
            <a:ext cx="768279" cy="69014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xmlns="" id="{6F2FD461-6D09-4BB3-B289-B5652A8D2C33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BEBA8EAE-BF5A-486C-A8C5-ECC9F3942E4B}">
                <a14:imgProps xmlns:a14="http://schemas.microsoft.com/office/drawing/2010/main" xmlns="">
                  <a14:imgLayer r:embed="rId5">
                    <a14:imgEffect>
                      <a14:brightnessContrast bright="20000" contrast="-40000"/>
                    </a14:imgEffect>
                  </a14:imgLayer>
                </a14:imgProps>
              </a:ext>
            </a:extLst>
          </a:blip>
          <a:srcRect r="49475" b="-1395"/>
          <a:stretch/>
        </p:blipFill>
        <p:spPr>
          <a:xfrm>
            <a:off x="162496" y="6199419"/>
            <a:ext cx="2057400" cy="647079"/>
          </a:xfrm>
          <a:prstGeom prst="rect">
            <a:avLst/>
          </a:prstGeom>
        </p:spPr>
      </p:pic>
    </p:spTree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ounded Rectangle 3"/>
          <p:cNvSpPr/>
          <p:nvPr/>
        </p:nvSpPr>
        <p:spPr bwMode="auto">
          <a:xfrm>
            <a:off x="304800" y="914400"/>
            <a:ext cx="8305800" cy="990600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 w="19050" cap="flat" cmpd="sng" algn="ctr">
            <a:solidFill>
              <a:srgbClr val="003366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000" b="1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eaning and Substitution Procedur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914400"/>
            <a:ext cx="7991475" cy="4867275"/>
          </a:xfrm>
        </p:spPr>
        <p:txBody>
          <a:bodyPr/>
          <a:lstStyle/>
          <a:p>
            <a:pPr algn="just">
              <a:lnSpc>
                <a:spcPct val="100000"/>
              </a:lnSpc>
              <a:buNone/>
            </a:pPr>
            <a:r>
              <a:rPr lang="en-US" sz="1600" dirty="0"/>
              <a:t>During document entry, the system sometimes automatically determines values for fields from values that were entered for other fields, such as the business area or the profit center due to a assigned cost center or an internal order.</a:t>
            </a:r>
          </a:p>
          <a:p>
            <a:pPr algn="just">
              <a:lnSpc>
                <a:spcPct val="100000"/>
              </a:lnSpc>
              <a:buNone/>
            </a:pPr>
            <a:endParaRPr lang="en-US" sz="1600" dirty="0"/>
          </a:p>
          <a:p>
            <a:r>
              <a:rPr lang="en-US" sz="1600" dirty="0"/>
              <a:t>Substitution consists of several steps (max of 999).</a:t>
            </a:r>
          </a:p>
          <a:p>
            <a:r>
              <a:rPr lang="en-US" sz="1600" dirty="0"/>
              <a:t>Each step has two parts</a:t>
            </a:r>
          </a:p>
          <a:p>
            <a:pPr lvl="2"/>
            <a:r>
              <a:rPr lang="en-US" dirty="0"/>
              <a:t>Prerequisite</a:t>
            </a:r>
          </a:p>
          <a:p>
            <a:pPr lvl="2"/>
            <a:r>
              <a:rPr lang="en-US" dirty="0"/>
              <a:t>Replacement</a:t>
            </a:r>
          </a:p>
          <a:p>
            <a:pPr lvl="2"/>
            <a:endParaRPr lang="en-US" dirty="0"/>
          </a:p>
          <a:p>
            <a:r>
              <a:rPr lang="en-US" sz="1600" dirty="0"/>
              <a:t>If the prerequisite is satisfied (TRUE), substitution is performed.</a:t>
            </a:r>
          </a:p>
          <a:p>
            <a:pPr>
              <a:buNone/>
            </a:pPr>
            <a:r>
              <a:rPr lang="en-US" sz="1600" i="1" u="sng" dirty="0"/>
              <a:t>Example: </a:t>
            </a:r>
            <a:r>
              <a:rPr lang="en-US" sz="1600" i="1" dirty="0"/>
              <a:t>The Functional area field is to be filled depending on the type of cost center.</a:t>
            </a:r>
          </a:p>
          <a:p>
            <a:pPr algn="just">
              <a:lnSpc>
                <a:spcPct val="100000"/>
              </a:lnSpc>
            </a:pPr>
            <a:endParaRPr lang="en-US" sz="1600" dirty="0"/>
          </a:p>
          <a:p>
            <a:pPr algn="just">
              <a:lnSpc>
                <a:spcPct val="100000"/>
              </a:lnSpc>
              <a:buNone/>
            </a:pPr>
            <a:endParaRPr lang="en-US" sz="1600" dirty="0"/>
          </a:p>
          <a:p>
            <a:pPr algn="just">
              <a:lnSpc>
                <a:spcPct val="100000"/>
              </a:lnSpc>
              <a:buNone/>
            </a:pPr>
            <a:endParaRPr lang="en-US" sz="1600" dirty="0"/>
          </a:p>
        </p:txBody>
      </p:sp>
      <p:sp>
        <p:nvSpPr>
          <p:cNvPr id="6" name="Diamond 5"/>
          <p:cNvSpPr/>
          <p:nvPr/>
        </p:nvSpPr>
        <p:spPr bwMode="auto">
          <a:xfrm>
            <a:off x="3276600" y="4419600"/>
            <a:ext cx="2971800" cy="990600"/>
          </a:xfrm>
          <a:prstGeom prst="diamond">
            <a:avLst/>
          </a:prstGeom>
          <a:solidFill>
            <a:schemeClr val="accent6"/>
          </a:solidFill>
          <a:ln w="19050" cap="flat" cmpd="sng" algn="ctr">
            <a:solidFill>
              <a:srgbClr val="003366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20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</a:rPr>
              <a:t>Prerequisite</a:t>
            </a:r>
          </a:p>
          <a:p>
            <a:pPr marL="0" marR="0" indent="0" algn="ctr" defTabSz="914400" rtl="0" eaLnBrk="0" fontAlgn="base" latinLnBrk="0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2000" b="1" dirty="0">
                <a:solidFill>
                  <a:schemeClr val="bg1"/>
                </a:solidFill>
              </a:rPr>
              <a:t>Statement</a:t>
            </a:r>
            <a:endParaRPr kumimoji="0" lang="en-US" sz="2000" b="1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7" name="Down Arrow 6"/>
          <p:cNvSpPr/>
          <p:nvPr/>
        </p:nvSpPr>
        <p:spPr bwMode="auto">
          <a:xfrm>
            <a:off x="3810000" y="5205307"/>
            <a:ext cx="229835" cy="421825"/>
          </a:xfrm>
          <a:prstGeom prst="downArrow">
            <a:avLst/>
          </a:prstGeom>
          <a:solidFill>
            <a:schemeClr val="accent1"/>
          </a:solidFill>
          <a:ln w="19050" cap="flat" cmpd="sng" algn="ctr">
            <a:solidFill>
              <a:srgbClr val="003366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000" b="1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8" name="Rounded Rectangle 7"/>
          <p:cNvSpPr/>
          <p:nvPr/>
        </p:nvSpPr>
        <p:spPr bwMode="auto">
          <a:xfrm>
            <a:off x="2209800" y="5638800"/>
            <a:ext cx="2286000" cy="609600"/>
          </a:xfrm>
          <a:prstGeom prst="roundRect">
            <a:avLst/>
          </a:prstGeom>
          <a:solidFill>
            <a:schemeClr val="accent1"/>
          </a:solidFill>
          <a:ln w="19050" cap="flat" cmpd="sng" algn="ctr">
            <a:solidFill>
              <a:srgbClr val="003366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b="1" i="0" u="none" strike="noStrike" cap="none" normalizeH="0" baseline="0" dirty="0">
                <a:ln>
                  <a:noFill/>
                </a:ln>
                <a:effectLst/>
                <a:latin typeface="Arial" charset="0"/>
              </a:rPr>
              <a:t>Perform</a:t>
            </a:r>
          </a:p>
          <a:p>
            <a:pPr marL="0" marR="0" indent="0" algn="ctr" defTabSz="914400" rtl="0" eaLnBrk="0" fontAlgn="base" latinLnBrk="0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b="1" i="0" u="none" strike="noStrike" cap="none" normalizeH="0" baseline="0" dirty="0">
                <a:ln>
                  <a:noFill/>
                </a:ln>
                <a:effectLst/>
                <a:latin typeface="Arial" charset="0"/>
              </a:rPr>
              <a:t> substitution</a:t>
            </a:r>
          </a:p>
        </p:txBody>
      </p:sp>
      <p:sp>
        <p:nvSpPr>
          <p:cNvPr id="9" name="Rounded Rectangle 8"/>
          <p:cNvSpPr/>
          <p:nvPr/>
        </p:nvSpPr>
        <p:spPr bwMode="auto">
          <a:xfrm>
            <a:off x="5181600" y="5638800"/>
            <a:ext cx="2286000" cy="609600"/>
          </a:xfrm>
          <a:prstGeom prst="roundRect">
            <a:avLst/>
          </a:prstGeom>
          <a:solidFill>
            <a:schemeClr val="accent1"/>
          </a:solidFill>
          <a:ln w="19050" cap="flat" cmpd="sng" algn="ctr">
            <a:solidFill>
              <a:srgbClr val="003366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hangingPunct="0">
              <a:lnSpc>
                <a:spcPct val="85000"/>
              </a:lnSpc>
            </a:pPr>
            <a:r>
              <a:rPr lang="en-US" b="1" dirty="0"/>
              <a:t>Do not Perform</a:t>
            </a:r>
          </a:p>
          <a:p>
            <a:pPr algn="ctr" eaLnBrk="0" hangingPunct="0">
              <a:lnSpc>
                <a:spcPct val="85000"/>
              </a:lnSpc>
            </a:pPr>
            <a:r>
              <a:rPr lang="en-US" b="1" dirty="0"/>
              <a:t> substitution</a:t>
            </a:r>
          </a:p>
        </p:txBody>
      </p:sp>
      <p:sp>
        <p:nvSpPr>
          <p:cNvPr id="10" name="Down Arrow 9"/>
          <p:cNvSpPr/>
          <p:nvPr/>
        </p:nvSpPr>
        <p:spPr bwMode="auto">
          <a:xfrm>
            <a:off x="5638800" y="5181600"/>
            <a:ext cx="229835" cy="445532"/>
          </a:xfrm>
          <a:prstGeom prst="downArrow">
            <a:avLst/>
          </a:prstGeom>
          <a:solidFill>
            <a:schemeClr val="accent1"/>
          </a:solidFill>
          <a:ln w="19050" cap="flat" cmpd="sng" algn="ctr">
            <a:solidFill>
              <a:srgbClr val="003366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000" b="1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3352800" y="5257800"/>
            <a:ext cx="58221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rue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5805021" y="5257800"/>
            <a:ext cx="67197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false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7475915" y="5029200"/>
            <a:ext cx="166808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dirty="0">
                <a:hlinkClick r:id="rId2" action="ppaction://hlinksldjump"/>
              </a:rPr>
              <a:t>Click to view </a:t>
            </a:r>
          </a:p>
          <a:p>
            <a:pPr algn="ctr"/>
            <a:r>
              <a:rPr lang="en-US" dirty="0">
                <a:hlinkClick r:id="rId2" action="ppaction://hlinksldjump"/>
              </a:rPr>
              <a:t>SAP SCREEN</a:t>
            </a:r>
            <a:endParaRPr lang="en-US" dirty="0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xmlns="" id="{CBAE26BC-8572-4709-A3D1-C8FB3ECD5C01}"/>
              </a:ext>
            </a:extLst>
          </p:cNvPr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8153400" y="71851"/>
            <a:ext cx="768279" cy="690149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xmlns="" id="{7A2456DE-79A6-4EB3-8FE3-2CBF4CB04812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BEBA8EAE-BF5A-486C-A8C5-ECC9F3942E4B}">
                <a14:imgProps xmlns:a14="http://schemas.microsoft.com/office/drawing/2010/main" xmlns="">
                  <a14:imgLayer r:embed="rId5">
                    <a14:imgEffect>
                      <a14:brightnessContrast bright="20000" contrast="-40000"/>
                    </a14:imgEffect>
                  </a14:imgLayer>
                </a14:imgProps>
              </a:ext>
            </a:extLst>
          </a:blip>
          <a:srcRect r="49475" b="-1395"/>
          <a:stretch/>
        </p:blipFill>
        <p:spPr>
          <a:xfrm>
            <a:off x="162496" y="6199419"/>
            <a:ext cx="2057400" cy="647079"/>
          </a:xfrm>
          <a:prstGeom prst="rect">
            <a:avLst/>
          </a:prstGeom>
        </p:spPr>
      </p:pic>
    </p:spTree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ubstitution Method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1000" y="838200"/>
            <a:ext cx="7991475" cy="4867275"/>
          </a:xfrm>
        </p:spPr>
        <p:txBody>
          <a:bodyPr/>
          <a:lstStyle/>
          <a:p>
            <a:pPr>
              <a:lnSpc>
                <a:spcPct val="100000"/>
              </a:lnSpc>
              <a:buNone/>
            </a:pPr>
            <a:r>
              <a:rPr lang="en-US" sz="1600" dirty="0"/>
              <a:t>For each of the fields you selected, a dialog box appears in which you can define the substitution method. You can choose between:</a:t>
            </a:r>
          </a:p>
          <a:p>
            <a:pPr lvl="1">
              <a:lnSpc>
                <a:spcPct val="100000"/>
              </a:lnSpc>
            </a:pPr>
            <a:r>
              <a:rPr lang="en-US" sz="1600" b="1" dirty="0"/>
              <a:t>Constant value</a:t>
            </a:r>
          </a:p>
          <a:p>
            <a:pPr lvl="1">
              <a:lnSpc>
                <a:spcPct val="100000"/>
              </a:lnSpc>
              <a:buNone/>
            </a:pPr>
            <a:r>
              <a:rPr lang="en-US" sz="1600" dirty="0"/>
              <a:t>If the prerequisite is true the field mentioned is filled with a constant value given.</a:t>
            </a:r>
          </a:p>
          <a:p>
            <a:pPr>
              <a:lnSpc>
                <a:spcPct val="100000"/>
              </a:lnSpc>
              <a:buNone/>
            </a:pPr>
            <a:r>
              <a:rPr lang="en-US" sz="1600" dirty="0"/>
              <a:t>Example: If the Co. Code is “0001” The Profit Center will be substituted with “0000000001” even if the user enters the different Profit Center system will replaced in the field </a:t>
            </a:r>
            <a:r>
              <a:rPr lang="en-US" sz="1600" u="sng" dirty="0"/>
              <a:t>Profit Center</a:t>
            </a:r>
            <a:r>
              <a:rPr lang="en-US" sz="1600" dirty="0"/>
              <a:t> and </a:t>
            </a:r>
            <a:r>
              <a:rPr lang="en-US" sz="1600" u="sng" dirty="0"/>
              <a:t>Business Area</a:t>
            </a:r>
            <a:r>
              <a:rPr lang="en-US" sz="1600" dirty="0"/>
              <a:t>. </a:t>
            </a:r>
          </a:p>
          <a:p>
            <a:pPr>
              <a:lnSpc>
                <a:spcPct val="100000"/>
              </a:lnSpc>
              <a:buNone/>
            </a:pPr>
            <a:endParaRPr lang="en-US" sz="1600" dirty="0"/>
          </a:p>
          <a:p>
            <a:pPr lvl="1">
              <a:lnSpc>
                <a:spcPct val="100000"/>
              </a:lnSpc>
            </a:pPr>
            <a:r>
              <a:rPr lang="en-US" sz="1600" b="1" dirty="0"/>
              <a:t>User Exits</a:t>
            </a:r>
          </a:p>
          <a:p>
            <a:pPr lvl="1">
              <a:lnSpc>
                <a:spcPct val="100000"/>
              </a:lnSpc>
              <a:buNone/>
            </a:pPr>
            <a:r>
              <a:rPr lang="en-US" sz="1600" dirty="0"/>
              <a:t>If the prerequisite is true, an user exit (program) is carried out at runtime.</a:t>
            </a:r>
          </a:p>
          <a:p>
            <a:pPr>
              <a:buNone/>
            </a:pPr>
            <a:r>
              <a:rPr lang="en-US" sz="1600" dirty="0"/>
              <a:t>Example: If the prerequisite is true then run the program “ZXXXX”.</a:t>
            </a:r>
          </a:p>
          <a:p>
            <a:pPr>
              <a:buNone/>
            </a:pPr>
            <a:endParaRPr lang="en-US" sz="1600" dirty="0"/>
          </a:p>
          <a:p>
            <a:pPr lvl="1">
              <a:lnSpc>
                <a:spcPct val="100000"/>
              </a:lnSpc>
            </a:pPr>
            <a:r>
              <a:rPr lang="en-US" sz="1600" b="1" dirty="0"/>
              <a:t>Field-field assignment</a:t>
            </a:r>
          </a:p>
          <a:p>
            <a:pPr lvl="1">
              <a:lnSpc>
                <a:spcPct val="100000"/>
              </a:lnSpc>
              <a:buNone/>
            </a:pPr>
            <a:r>
              <a:rPr lang="en-US" sz="1600" dirty="0"/>
              <a:t>If the prerequisite is true, the system substitutes the contents of the field with the contents of the source field.</a:t>
            </a:r>
          </a:p>
          <a:p>
            <a:pPr>
              <a:lnSpc>
                <a:spcPct val="100000"/>
              </a:lnSpc>
              <a:buNone/>
            </a:pPr>
            <a:r>
              <a:rPr lang="en-US" sz="1600" dirty="0"/>
              <a:t>Example: </a:t>
            </a:r>
            <a:r>
              <a:rPr lang="en-US" sz="1600" u="sng" dirty="0"/>
              <a:t>Field Assignment </a:t>
            </a:r>
            <a:r>
              <a:rPr lang="en-US" sz="1600" dirty="0"/>
              <a:t>(usually contains clearing information) is replaced by the contents of </a:t>
            </a:r>
            <a:r>
              <a:rPr lang="en-US" sz="1600" u="sng" dirty="0"/>
              <a:t>field Business area </a:t>
            </a:r>
            <a:r>
              <a:rPr lang="en-US" sz="1600" dirty="0"/>
              <a:t>if certain prerequisites are satisfied.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6858000" y="6211669"/>
            <a:ext cx="166808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dirty="0">
                <a:hlinkClick r:id="rId3" action="ppaction://hlinksldjump"/>
              </a:rPr>
              <a:t>Click to view </a:t>
            </a:r>
          </a:p>
          <a:p>
            <a:pPr algn="ctr"/>
            <a:r>
              <a:rPr lang="en-US" dirty="0">
                <a:hlinkClick r:id="rId3" action="ppaction://hlinksldjump"/>
              </a:rPr>
              <a:t>SAP SCREEN</a:t>
            </a: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17A2A8CC-D5D8-4F0B-861E-1118B63F6864}"/>
              </a:ext>
            </a:extLst>
          </p:cNvPr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8153400" y="71851"/>
            <a:ext cx="768279" cy="69014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xmlns="" id="{8630124E-5244-455F-BE1D-4CC16FAF7D8D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BEBA8EAE-BF5A-486C-A8C5-ECC9F3942E4B}">
                <a14:imgProps xmlns:a14="http://schemas.microsoft.com/office/drawing/2010/main" xmlns="">
                  <a14:imgLayer r:embed="rId6">
                    <a14:imgEffect>
                      <a14:brightnessContrast bright="20000" contrast="-40000"/>
                    </a14:imgEffect>
                  </a14:imgLayer>
                </a14:imgProps>
              </a:ext>
            </a:extLst>
          </a:blip>
          <a:srcRect r="49475" b="-1395"/>
          <a:stretch/>
        </p:blipFill>
        <p:spPr>
          <a:xfrm>
            <a:off x="162496" y="6199419"/>
            <a:ext cx="2057400" cy="647079"/>
          </a:xfrm>
          <a:prstGeom prst="rect">
            <a:avLst/>
          </a:prstGeom>
        </p:spPr>
      </p:pic>
    </p:spTree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ubstitution Methods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6858000" y="6211669"/>
            <a:ext cx="166808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dirty="0">
                <a:hlinkClick r:id="rId3" action="ppaction://hlinksldjump"/>
              </a:rPr>
              <a:t>Click to view </a:t>
            </a:r>
          </a:p>
          <a:p>
            <a:pPr algn="ctr"/>
            <a:r>
              <a:rPr lang="en-US" dirty="0">
                <a:hlinkClick r:id="rId3" action="ppaction://hlinksldjump"/>
              </a:rPr>
              <a:t>SAP SCREEN</a:t>
            </a:r>
            <a:endParaRPr lang="en-US" dirty="0"/>
          </a:p>
        </p:txBody>
      </p:sp>
      <p:pic>
        <p:nvPicPr>
          <p:cNvPr id="6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19125" y="1066800"/>
            <a:ext cx="7991475" cy="348089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xmlns="" id="{B64AD059-5D7A-4B79-A04B-BFAB3F8DA340}"/>
              </a:ext>
            </a:extLst>
          </p:cNvPr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8153400" y="71851"/>
            <a:ext cx="768279" cy="690149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xmlns="" id="{DDA0AA4C-C3CA-482C-B9CD-CD78B46C014D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BEBA8EAE-BF5A-486C-A8C5-ECC9F3942E4B}">
                <a14:imgProps xmlns:a14="http://schemas.microsoft.com/office/drawing/2010/main" xmlns="">
                  <a14:imgLayer r:embed="rId7">
                    <a14:imgEffect>
                      <a14:brightnessContrast bright="20000" contrast="-40000"/>
                    </a14:imgEffect>
                  </a14:imgLayer>
                </a14:imgProps>
              </a:ext>
            </a:extLst>
          </a:blip>
          <a:srcRect r="49475" b="-1395"/>
          <a:stretch/>
        </p:blipFill>
        <p:spPr>
          <a:xfrm>
            <a:off x="162496" y="6199419"/>
            <a:ext cx="2057400" cy="647079"/>
          </a:xfrm>
          <a:prstGeom prst="rect">
            <a:avLst/>
          </a:prstGeom>
        </p:spPr>
      </p:pic>
    </p:spTree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en-US" dirty="0"/>
              <a:t>Substitutions in Financial Accounting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None/>
            </a:pPr>
            <a:r>
              <a:rPr lang="en-US" b="1" u="sng" dirty="0"/>
              <a:t>Summary:</a:t>
            </a:r>
            <a:endParaRPr lang="en-US" sz="1800" b="1" u="sng" dirty="0"/>
          </a:p>
          <a:p>
            <a:pPr>
              <a:buNone/>
            </a:pPr>
            <a:r>
              <a:rPr lang="en-US" sz="1800" b="1" dirty="0"/>
              <a:t>Now you should be able to understand :</a:t>
            </a:r>
          </a:p>
          <a:p>
            <a:pPr>
              <a:buNone/>
            </a:pPr>
            <a:endParaRPr lang="en-US" sz="1800" b="1" dirty="0"/>
          </a:p>
          <a:p>
            <a:r>
              <a:rPr lang="en-US" sz="1800" dirty="0"/>
              <a:t>Substitution Procedure</a:t>
            </a:r>
          </a:p>
          <a:p>
            <a:r>
              <a:rPr lang="en-US" sz="1800" dirty="0"/>
              <a:t>Methods of Substitution</a:t>
            </a:r>
          </a:p>
          <a:p>
            <a:endParaRPr lang="en-US" sz="1800" b="1" dirty="0"/>
          </a:p>
          <a:p>
            <a:endParaRPr lang="en-US" sz="1800" b="1" dirty="0"/>
          </a:p>
        </p:txBody>
      </p:sp>
      <p:pic>
        <p:nvPicPr>
          <p:cNvPr id="4" name="Picture 3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086600" y="2895600"/>
            <a:ext cx="1676400" cy="3352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6EFD5F19-65DE-4A3E-B65C-522E79EA755F}"/>
              </a:ext>
            </a:extLst>
          </p:cNvPr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8153400" y="71851"/>
            <a:ext cx="768279" cy="69014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xmlns="" id="{52524A4C-C09C-4B35-866A-A103BED8264E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BEBA8EAE-BF5A-486C-A8C5-ECC9F3942E4B}">
                <a14:imgProps xmlns:a14="http://schemas.microsoft.com/office/drawing/2010/main" xmlns="">
                  <a14:imgLayer r:embed="rId5">
                    <a14:imgEffect>
                      <a14:brightnessContrast bright="20000" contrast="-40000"/>
                    </a14:imgEffect>
                  </a14:imgLayer>
                </a14:imgProps>
              </a:ext>
            </a:extLst>
          </a:blip>
          <a:srcRect r="49475" b="-1395"/>
          <a:stretch/>
        </p:blipFill>
        <p:spPr>
          <a:xfrm>
            <a:off x="162496" y="6199419"/>
            <a:ext cx="2057400" cy="647079"/>
          </a:xfrm>
          <a:prstGeom prst="rect">
            <a:avLst/>
          </a:prstGeom>
        </p:spPr>
      </p:pic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ENTS</a:t>
            </a:r>
          </a:p>
        </p:txBody>
      </p:sp>
      <p:graphicFrame>
        <p:nvGraphicFramePr>
          <p:cNvPr id="4" name="Diagram 3"/>
          <p:cNvGraphicFramePr/>
          <p:nvPr/>
        </p:nvGraphicFramePr>
        <p:xfrm>
          <a:off x="838200" y="1143000"/>
          <a:ext cx="7391400" cy="47244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EA43D6D5-D9C3-4551-89B7-400E209BB6D8}"/>
              </a:ext>
            </a:extLst>
          </p:cNvPr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8153400" y="71851"/>
            <a:ext cx="768279" cy="69014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xmlns="" id="{D1A74188-47C0-4609-BBED-61918FD628A5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print">
            <a:extLst>
              <a:ext uri="{BEBA8EAE-BF5A-486C-A8C5-ECC9F3942E4B}">
                <a14:imgProps xmlns:a14="http://schemas.microsoft.com/office/drawing/2010/main" xmlns="">
                  <a14:imgLayer r:embed="rId9">
                    <a14:imgEffect>
                      <a14:brightnessContrast bright="20000" contrast="-40000"/>
                    </a14:imgEffect>
                  </a14:imgLayer>
                </a14:imgProps>
              </a:ext>
            </a:extLst>
          </a:blip>
          <a:srcRect r="49475" b="-1395"/>
          <a:stretch/>
        </p:blipFill>
        <p:spPr>
          <a:xfrm>
            <a:off x="162496" y="6199419"/>
            <a:ext cx="2057400" cy="647079"/>
          </a:xfrm>
          <a:prstGeom prst="rect">
            <a:avLst/>
          </a:prstGeom>
        </p:spPr>
      </p:pic>
    </p:spTree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ENTS</a:t>
            </a:r>
          </a:p>
        </p:txBody>
      </p:sp>
      <p:graphicFrame>
        <p:nvGraphicFramePr>
          <p:cNvPr id="4" name="Diagram 3"/>
          <p:cNvGraphicFramePr/>
          <p:nvPr/>
        </p:nvGraphicFramePr>
        <p:xfrm>
          <a:off x="838200" y="1143000"/>
          <a:ext cx="7391400" cy="47244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B59955C8-3A40-4A0E-A60D-15EC2192553F}"/>
              </a:ext>
            </a:extLst>
          </p:cNvPr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8153400" y="71851"/>
            <a:ext cx="768279" cy="69014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xmlns="" id="{CB356BA6-FC8F-4B29-93F7-E3AA8D6B77C9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print">
            <a:extLst>
              <a:ext uri="{BEBA8EAE-BF5A-486C-A8C5-ECC9F3942E4B}">
                <a14:imgProps xmlns:a14="http://schemas.microsoft.com/office/drawing/2010/main" xmlns="">
                  <a14:imgLayer r:embed="rId9">
                    <a14:imgEffect>
                      <a14:brightnessContrast bright="20000" contrast="-40000"/>
                    </a14:imgEffect>
                  </a14:imgLayer>
                </a14:imgProps>
              </a:ext>
            </a:extLst>
          </a:blip>
          <a:srcRect r="49475" b="-1395"/>
          <a:stretch/>
        </p:blipFill>
        <p:spPr>
          <a:xfrm>
            <a:off x="162496" y="6199419"/>
            <a:ext cx="2057400" cy="647079"/>
          </a:xfrm>
          <a:prstGeom prst="rect">
            <a:avLst/>
          </a:prstGeom>
        </p:spPr>
      </p:pic>
    </p:spTree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en-US" dirty="0"/>
              <a:t>Rules and Set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None/>
            </a:pPr>
            <a:r>
              <a:rPr lang="en-US" b="1" u="sng" dirty="0"/>
              <a:t>Objective:</a:t>
            </a:r>
          </a:p>
          <a:p>
            <a:pPr>
              <a:buNone/>
            </a:pPr>
            <a:r>
              <a:rPr lang="en-US" sz="1800" b="1" dirty="0"/>
              <a:t>After the lesson you will be able to:</a:t>
            </a:r>
          </a:p>
          <a:p>
            <a:pPr>
              <a:buNone/>
            </a:pPr>
            <a:endParaRPr lang="en-US" sz="1800" b="1" dirty="0"/>
          </a:p>
          <a:p>
            <a:r>
              <a:rPr lang="en-US" sz="1800" dirty="0"/>
              <a:t>Define Rules and use it.</a:t>
            </a:r>
          </a:p>
          <a:p>
            <a:r>
              <a:rPr lang="en-US" sz="1800" dirty="0"/>
              <a:t>Define Sets and use it.</a:t>
            </a:r>
          </a:p>
          <a:p>
            <a:endParaRPr lang="en-US" b="1" dirty="0"/>
          </a:p>
          <a:p>
            <a:pPr>
              <a:buNone/>
            </a:pPr>
            <a:r>
              <a:rPr lang="en-US" dirty="0"/>
              <a:t> </a:t>
            </a:r>
          </a:p>
        </p:txBody>
      </p:sp>
      <p:pic>
        <p:nvPicPr>
          <p:cNvPr id="4" name="Picture 2" descr="C:\Documents and Settings\rpotturi\Local Settings\Temporary Internet Files\Content.IE5\W5Y74T6F\MC900197655[1].wmf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400800" y="914400"/>
            <a:ext cx="1600200" cy="1388654"/>
          </a:xfrm>
          <a:prstGeom prst="rect">
            <a:avLst/>
          </a:prstGeom>
          <a:noFill/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E7C05CD7-974A-4CEF-AA76-5C8A5CC41A76}"/>
              </a:ext>
            </a:extLst>
          </p:cNvPr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8153400" y="71851"/>
            <a:ext cx="768279" cy="69014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xmlns="" id="{7B6652F7-20F3-4690-AD55-9C9D05B356DA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BEBA8EAE-BF5A-486C-A8C5-ECC9F3942E4B}">
                <a14:imgProps xmlns:a14="http://schemas.microsoft.com/office/drawing/2010/main" xmlns="">
                  <a14:imgLayer r:embed="rId5">
                    <a14:imgEffect>
                      <a14:brightnessContrast bright="20000" contrast="-40000"/>
                    </a14:imgEffect>
                  </a14:imgLayer>
                </a14:imgProps>
              </a:ext>
            </a:extLst>
          </a:blip>
          <a:srcRect r="49475" b="-1395"/>
          <a:stretch/>
        </p:blipFill>
        <p:spPr>
          <a:xfrm>
            <a:off x="162496" y="6199419"/>
            <a:ext cx="2057400" cy="647079"/>
          </a:xfrm>
          <a:prstGeom prst="rect">
            <a:avLst/>
          </a:prstGeom>
        </p:spPr>
      </p:pic>
    </p:spTree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ounded Rectangle 4"/>
          <p:cNvSpPr/>
          <p:nvPr/>
        </p:nvSpPr>
        <p:spPr bwMode="auto">
          <a:xfrm>
            <a:off x="533400" y="990600"/>
            <a:ext cx="8001000" cy="1066800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 w="19050" cap="flat" cmpd="sng" algn="ctr">
            <a:solidFill>
              <a:srgbClr val="003366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000" b="1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ule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3400" y="990600"/>
            <a:ext cx="7991475" cy="4867275"/>
          </a:xfrm>
        </p:spPr>
        <p:txBody>
          <a:bodyPr/>
          <a:lstStyle/>
          <a:p>
            <a:pPr algn="just">
              <a:lnSpc>
                <a:spcPct val="100000"/>
              </a:lnSpc>
              <a:buNone/>
            </a:pPr>
            <a:r>
              <a:rPr lang="en-US" sz="1600" dirty="0"/>
              <a:t>Sometimes, more </a:t>
            </a:r>
            <a:r>
              <a:rPr lang="en-US" sz="1600" b="1" dirty="0"/>
              <a:t>detailed</a:t>
            </a:r>
            <a:r>
              <a:rPr lang="en-US" sz="1600" dirty="0"/>
              <a:t> rules as well as more extensive processing are required to enter your </a:t>
            </a:r>
            <a:r>
              <a:rPr lang="en-US" sz="1600" b="1" dirty="0"/>
              <a:t>logical statements in prerequisites and checks</a:t>
            </a:r>
            <a:r>
              <a:rPr lang="en-US" sz="1600" dirty="0"/>
              <a:t>, as well as for the specification of the values to be used. For this reason, </a:t>
            </a:r>
            <a:r>
              <a:rPr lang="en-US" sz="1600" b="1" dirty="0"/>
              <a:t>you can use rules and sets </a:t>
            </a:r>
            <a:r>
              <a:rPr lang="en-US" sz="1600" dirty="0"/>
              <a:t>to define your validations/substitutions.</a:t>
            </a:r>
          </a:p>
          <a:p>
            <a:pPr algn="just">
              <a:lnSpc>
                <a:spcPct val="100000"/>
              </a:lnSpc>
              <a:buNone/>
            </a:pPr>
            <a:endParaRPr lang="en-US" sz="1600" dirty="0"/>
          </a:p>
          <a:p>
            <a:r>
              <a:rPr lang="en-US" sz="1600" dirty="0"/>
              <a:t>A rule is a logical statement that you can use in a prerequisite statement, a check, or another rule.</a:t>
            </a:r>
          </a:p>
          <a:p>
            <a:r>
              <a:rPr lang="en-US" sz="1600" dirty="0"/>
              <a:t>A rule permits complex logic to be summarized; it can be re-used.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2133600" y="3505200"/>
            <a:ext cx="5791200" cy="1384995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22225">
            <a:solidFill>
              <a:srgbClr val="003366"/>
            </a:solidFill>
          </a:ln>
        </p:spPr>
        <p:txBody>
          <a:bodyPr wrap="square" rtlCol="0">
            <a:spAutoFit/>
          </a:bodyPr>
          <a:lstStyle/>
          <a:p>
            <a:endParaRPr lang="en-US" sz="1400" dirty="0"/>
          </a:p>
          <a:p>
            <a:endParaRPr lang="en-US" sz="1400" b="1" u="sng" dirty="0"/>
          </a:p>
          <a:p>
            <a:r>
              <a:rPr lang="en-US" sz="1400" b="1" u="sng" dirty="0"/>
              <a:t>CONTENT</a:t>
            </a:r>
          </a:p>
          <a:p>
            <a:endParaRPr lang="en-US" sz="1400" dirty="0"/>
          </a:p>
          <a:p>
            <a:pPr algn="just"/>
            <a:r>
              <a:rPr lang="en-US" sz="1400" dirty="0"/>
              <a:t>(BKPF-USNAM = ‘MEIER’ OR BKPF-USNAM = ‘MUELLER’) AND (BSEG-HKONT &gt;=‘101000’ AND BSEG-HKONT &lt;=‘101009’)</a:t>
            </a:r>
          </a:p>
        </p:txBody>
      </p:sp>
      <p:sp>
        <p:nvSpPr>
          <p:cNvPr id="8" name="Rounded Rectangle 7"/>
          <p:cNvSpPr/>
          <p:nvPr/>
        </p:nvSpPr>
        <p:spPr bwMode="auto">
          <a:xfrm>
            <a:off x="2133600" y="5105400"/>
            <a:ext cx="5867400" cy="457200"/>
          </a:xfrm>
          <a:prstGeom prst="roundRect">
            <a:avLst/>
          </a:prstGeom>
          <a:solidFill>
            <a:schemeClr val="accent1"/>
          </a:solidFill>
          <a:ln w="19050" cap="flat" cmpd="sng" algn="ctr">
            <a:solidFill>
              <a:srgbClr val="003366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defTabSz="914400" rtl="0" eaLnBrk="0" fontAlgn="base" latinLnBrk="0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400" b="1" dirty="0"/>
              <a:t>Prerequisites:   </a:t>
            </a:r>
            <a:r>
              <a:rPr lang="en-US" sz="1400" b="1" dirty="0">
                <a:solidFill>
                  <a:srgbClr val="C00000"/>
                </a:solidFill>
              </a:rPr>
              <a:t>GROUP ACCOUNT </a:t>
            </a:r>
            <a:r>
              <a:rPr lang="en-US" sz="1400" b="1" dirty="0"/>
              <a:t>AND BKPF-BLART = ‘SB’</a:t>
            </a:r>
            <a:endParaRPr kumimoji="0" lang="en-US" sz="1400" b="1" i="0" u="none" strike="noStrike" cap="none" normalizeH="0" baseline="0" dirty="0">
              <a:ln>
                <a:noFill/>
              </a:ln>
              <a:effectLst/>
              <a:latin typeface="Arial" charset="0"/>
            </a:endParaRPr>
          </a:p>
        </p:txBody>
      </p:sp>
      <p:sp>
        <p:nvSpPr>
          <p:cNvPr id="9" name="Rounded Rectangle 8"/>
          <p:cNvSpPr/>
          <p:nvPr/>
        </p:nvSpPr>
        <p:spPr bwMode="auto">
          <a:xfrm>
            <a:off x="2133600" y="5638800"/>
            <a:ext cx="5867400" cy="381000"/>
          </a:xfrm>
          <a:prstGeom prst="roundRect">
            <a:avLst/>
          </a:prstGeom>
          <a:solidFill>
            <a:schemeClr val="accent1"/>
          </a:solidFill>
          <a:ln w="19050" cap="flat" cmpd="sng" algn="ctr">
            <a:solidFill>
              <a:srgbClr val="003366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defTabSz="914400" rtl="0" eaLnBrk="0" fontAlgn="base" latinLnBrk="0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1" i="0" u="none" strike="noStrike" cap="none" normalizeH="0" baseline="0" dirty="0">
                <a:ln>
                  <a:noFill/>
                </a:ln>
                <a:effectLst/>
                <a:latin typeface="Arial" charset="0"/>
              </a:rPr>
              <a:t>Check:</a:t>
            </a:r>
            <a:r>
              <a:rPr kumimoji="0" lang="en-US" sz="1400" b="1" i="0" u="none" strike="noStrike" cap="none" normalizeH="0" dirty="0">
                <a:ln>
                  <a:noFill/>
                </a:ln>
                <a:effectLst/>
                <a:latin typeface="Arial" charset="0"/>
              </a:rPr>
              <a:t>               BSEG-GSBER&lt;=‘3000’</a:t>
            </a:r>
            <a:endParaRPr kumimoji="0" lang="en-US" sz="1400" b="1" i="0" u="none" strike="noStrike" cap="none" normalizeH="0" baseline="0" dirty="0">
              <a:ln>
                <a:noFill/>
              </a:ln>
              <a:effectLst/>
              <a:latin typeface="Arial" charset="0"/>
            </a:endParaRPr>
          </a:p>
        </p:txBody>
      </p:sp>
      <p:sp>
        <p:nvSpPr>
          <p:cNvPr id="10" name="Rounded Rectangle 9"/>
          <p:cNvSpPr/>
          <p:nvPr/>
        </p:nvSpPr>
        <p:spPr bwMode="auto">
          <a:xfrm>
            <a:off x="2133600" y="6096000"/>
            <a:ext cx="5867400" cy="457200"/>
          </a:xfrm>
          <a:prstGeom prst="roundRect">
            <a:avLst/>
          </a:prstGeom>
          <a:solidFill>
            <a:schemeClr val="accent1"/>
          </a:solidFill>
          <a:ln w="19050" cap="flat" cmpd="sng" algn="ctr">
            <a:solidFill>
              <a:srgbClr val="003366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defTabSz="914400" rtl="0" eaLnBrk="0" fontAlgn="base" latinLnBrk="0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1" i="0" u="none" strike="noStrike" cap="none" normalizeH="0" baseline="0" dirty="0">
                <a:ln>
                  <a:noFill/>
                </a:ln>
                <a:effectLst/>
                <a:latin typeface="Arial" charset="0"/>
              </a:rPr>
              <a:t>Message:</a:t>
            </a:r>
          </a:p>
        </p:txBody>
      </p:sp>
      <p:sp>
        <p:nvSpPr>
          <p:cNvPr id="13" name="Rounded Rectangle 12"/>
          <p:cNvSpPr/>
          <p:nvPr/>
        </p:nvSpPr>
        <p:spPr bwMode="auto">
          <a:xfrm>
            <a:off x="2133600" y="3505200"/>
            <a:ext cx="5791200" cy="457200"/>
          </a:xfrm>
          <a:prstGeom prst="roundRect">
            <a:avLst/>
          </a:prstGeom>
          <a:solidFill>
            <a:schemeClr val="tx1">
              <a:alpha val="86000"/>
            </a:schemeClr>
          </a:solidFill>
          <a:ln w="19050" cap="flat" cmpd="sng" algn="ctr">
            <a:solidFill>
              <a:schemeClr val="accent6">
                <a:lumMod val="20000"/>
                <a:lumOff val="8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hangingPunct="0">
              <a:lnSpc>
                <a:spcPct val="85000"/>
              </a:lnSpc>
            </a:pPr>
            <a:endParaRPr lang="en-US" sz="2000" b="1" dirty="0">
              <a:solidFill>
                <a:schemeClr val="bg1"/>
              </a:solidFill>
            </a:endParaRPr>
          </a:p>
          <a:p>
            <a:pPr algn="ctr" eaLnBrk="0" hangingPunct="0">
              <a:lnSpc>
                <a:spcPct val="85000"/>
              </a:lnSpc>
            </a:pPr>
            <a:r>
              <a:rPr lang="en-US" sz="2000" b="1" dirty="0">
                <a:solidFill>
                  <a:schemeClr val="bg1"/>
                </a:solidFill>
              </a:rPr>
              <a:t>RULE NAME: GROUP ACCOUNT</a:t>
            </a:r>
          </a:p>
          <a:p>
            <a:pPr marL="0" marR="0" indent="0" algn="ctr" defTabSz="914400" rtl="0" eaLnBrk="0" fontAlgn="base" latinLnBrk="0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000" b="1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cxnSp>
        <p:nvCxnSpPr>
          <p:cNvPr id="15" name="Straight Arrow Connector 14"/>
          <p:cNvCxnSpPr/>
          <p:nvPr/>
        </p:nvCxnSpPr>
        <p:spPr bwMode="auto">
          <a:xfrm flipV="1">
            <a:off x="4572000" y="3886200"/>
            <a:ext cx="762000" cy="1219200"/>
          </a:xfrm>
          <a:prstGeom prst="straightConnector1">
            <a:avLst/>
          </a:prstGeom>
          <a:solidFill>
            <a:schemeClr val="accent1"/>
          </a:solidFill>
          <a:ln w="19050" cap="flat" cmpd="sng" algn="ctr">
            <a:solidFill>
              <a:srgbClr val="C00000"/>
            </a:solidFill>
            <a:prstDash val="solid"/>
            <a:round/>
            <a:headEnd type="none" w="med" len="med"/>
            <a:tailEnd type="arrow"/>
          </a:ln>
          <a:effectLst/>
        </p:spPr>
      </p:cxnSp>
      <p:pic>
        <p:nvPicPr>
          <p:cNvPr id="12" name="Picture 11">
            <a:extLst>
              <a:ext uri="{FF2B5EF4-FFF2-40B4-BE49-F238E27FC236}">
                <a16:creationId xmlns:a16="http://schemas.microsoft.com/office/drawing/2014/main" xmlns="" id="{1E7172A0-7744-444F-A640-BB78AEC5481C}"/>
              </a:ext>
            </a:extLst>
          </p:cNvPr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8153400" y="71851"/>
            <a:ext cx="768279" cy="690149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xmlns="" id="{927C61B7-1132-4C4A-B0E4-29BB1D622439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 xmlns="">
                  <a14:imgLayer r:embed="rId4">
                    <a14:imgEffect>
                      <a14:brightnessContrast bright="20000" contrast="-40000"/>
                    </a14:imgEffect>
                  </a14:imgLayer>
                </a14:imgProps>
              </a:ext>
            </a:extLst>
          </a:blip>
          <a:srcRect r="49475" b="-1395"/>
          <a:stretch/>
        </p:blipFill>
        <p:spPr>
          <a:xfrm>
            <a:off x="0" y="6199419"/>
            <a:ext cx="2057400" cy="647079"/>
          </a:xfrm>
          <a:prstGeom prst="rect">
            <a:avLst/>
          </a:prstGeom>
        </p:spPr>
      </p:pic>
    </p:spTree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ets</a:t>
            </a: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</p:nvPr>
        </p:nvGraphicFramePr>
        <p:xfrm>
          <a:off x="1447801" y="838200"/>
          <a:ext cx="6019800" cy="20574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8" name="Diagram 7"/>
          <p:cNvGraphicFramePr/>
          <p:nvPr/>
        </p:nvGraphicFramePr>
        <p:xfrm>
          <a:off x="914400" y="3429000"/>
          <a:ext cx="7315200" cy="92333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sp>
        <p:nvSpPr>
          <p:cNvPr id="9" name="TextBox 8"/>
          <p:cNvSpPr txBox="1"/>
          <p:nvPr/>
        </p:nvSpPr>
        <p:spPr>
          <a:xfrm>
            <a:off x="1524000" y="2819400"/>
            <a:ext cx="225831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Table BKPF  field USNAM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4648200" y="2819400"/>
            <a:ext cx="226792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Table BSEG  field HKONT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609600" y="4419600"/>
            <a:ext cx="8229600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buFont typeface="Arial" pitchFamily="34" charset="0"/>
              <a:buChar char="•"/>
            </a:pPr>
            <a:r>
              <a:rPr lang="en-US" sz="1400" dirty="0"/>
              <a:t>A set is a flexible data structure for portraying arranged amounts and hierarchies.</a:t>
            </a:r>
          </a:p>
          <a:p>
            <a:pPr algn="just">
              <a:buFont typeface="Arial" pitchFamily="34" charset="0"/>
              <a:buChar char="•"/>
            </a:pPr>
            <a:endParaRPr lang="en-US" sz="1400" dirty="0"/>
          </a:p>
          <a:p>
            <a:pPr algn="just">
              <a:buFont typeface="Arial" pitchFamily="34" charset="0"/>
              <a:buChar char="•"/>
            </a:pPr>
            <a:r>
              <a:rPr lang="en-US" sz="1400" dirty="0"/>
              <a:t>Sets are maintained and administrated centrally.</a:t>
            </a:r>
          </a:p>
          <a:p>
            <a:pPr algn="just">
              <a:buFont typeface="Arial" pitchFamily="34" charset="0"/>
              <a:buChar char="•"/>
            </a:pPr>
            <a:endParaRPr lang="en-US" sz="1400" dirty="0"/>
          </a:p>
          <a:p>
            <a:pPr algn="just">
              <a:buFont typeface="Arial" pitchFamily="34" charset="0"/>
              <a:buChar char="•"/>
            </a:pPr>
            <a:r>
              <a:rPr lang="en-US" sz="1400" u="sng" dirty="0"/>
              <a:t>Syntax rule: </a:t>
            </a:r>
            <a:r>
              <a:rPr lang="en-US" sz="1400" b="1" dirty="0"/>
              <a:t>table name - field name IN set name</a:t>
            </a:r>
          </a:p>
          <a:p>
            <a:pPr algn="just">
              <a:buFont typeface="Arial" pitchFamily="34" charset="0"/>
              <a:buChar char="•"/>
            </a:pPr>
            <a:endParaRPr lang="en-US" sz="1400" b="1" dirty="0"/>
          </a:p>
          <a:p>
            <a:pPr algn="just">
              <a:buFont typeface="Arial" pitchFamily="34" charset="0"/>
              <a:buChar char="•"/>
            </a:pPr>
            <a:r>
              <a:rPr lang="en-US" sz="1400" dirty="0"/>
              <a:t>You can use </a:t>
            </a:r>
            <a:r>
              <a:rPr lang="en-US" sz="1400" b="1" dirty="0"/>
              <a:t>multi-dimension sets </a:t>
            </a:r>
            <a:r>
              <a:rPr lang="en-US" sz="1400" i="1" dirty="0"/>
              <a:t>(a combination of sets for various fields [dimensions]) </a:t>
            </a:r>
            <a:r>
              <a:rPr lang="en-US" sz="1400" dirty="0"/>
              <a:t>to execute cross-validation with values of different characteristics.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533400" y="1752600"/>
            <a:ext cx="91242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Basic set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7467600" y="1600200"/>
            <a:ext cx="91242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Basic set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xmlns="" id="{E9490916-B047-44A1-8D9B-CE253246777E}"/>
              </a:ext>
            </a:extLst>
          </p:cNvPr>
          <p:cNvPicPr>
            <a:picLocks noChangeAspect="1"/>
          </p:cNvPicPr>
          <p:nvPr/>
        </p:nvPicPr>
        <p:blipFill>
          <a:blip r:embed="rId12" cstate="print"/>
          <a:stretch>
            <a:fillRect/>
          </a:stretch>
        </p:blipFill>
        <p:spPr>
          <a:xfrm>
            <a:off x="8153400" y="71851"/>
            <a:ext cx="768279" cy="690149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xmlns="" id="{20354DEF-505F-47B8-9BC5-420041678917}"/>
              </a:ext>
            </a:extLst>
          </p:cNvPr>
          <p:cNvPicPr>
            <a:picLocks noChangeAspect="1"/>
          </p:cNvPicPr>
          <p:nvPr/>
        </p:nvPicPr>
        <p:blipFill rotWithShape="1">
          <a:blip r:embed="rId13" cstate="print">
            <a:extLst>
              <a:ext uri="{BEBA8EAE-BF5A-486C-A8C5-ECC9F3942E4B}">
                <a14:imgProps xmlns:a14="http://schemas.microsoft.com/office/drawing/2010/main" xmlns="">
                  <a14:imgLayer r:embed="rId14">
                    <a14:imgEffect>
                      <a14:brightnessContrast bright="20000" contrast="-40000"/>
                    </a14:imgEffect>
                  </a14:imgLayer>
                </a14:imgProps>
              </a:ext>
            </a:extLst>
          </a:blip>
          <a:srcRect r="49475" b="-1395"/>
          <a:stretch/>
        </p:blipFill>
        <p:spPr>
          <a:xfrm>
            <a:off x="162496" y="6199419"/>
            <a:ext cx="2057400" cy="647079"/>
          </a:xfrm>
          <a:prstGeom prst="rect">
            <a:avLst/>
          </a:prstGeom>
        </p:spPr>
      </p:pic>
    </p:spTree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enu Path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1800" b="1" dirty="0"/>
              <a:t>VALIDATIONS</a:t>
            </a:r>
          </a:p>
          <a:p>
            <a:pPr>
              <a:buNone/>
            </a:pPr>
            <a:r>
              <a:rPr lang="en-US" sz="1800" i="1" dirty="0">
                <a:solidFill>
                  <a:schemeClr val="bg2"/>
                </a:solidFill>
              </a:rPr>
              <a:t>SAP Reference IMG → Financial Accounting→ Financial Accounting Global Settings → Document → Line Item → Define Validations for Posting → Environment → Validation.</a:t>
            </a:r>
          </a:p>
          <a:p>
            <a:pPr>
              <a:buNone/>
            </a:pPr>
            <a:endParaRPr lang="en-US" sz="1800" i="1" dirty="0">
              <a:solidFill>
                <a:schemeClr val="bg2"/>
              </a:solidFill>
            </a:endParaRPr>
          </a:p>
          <a:p>
            <a:r>
              <a:rPr lang="en-US" sz="1800" b="1" dirty="0"/>
              <a:t>SUBSTITUTIONS</a:t>
            </a:r>
          </a:p>
          <a:p>
            <a:pPr>
              <a:buNone/>
            </a:pPr>
            <a:r>
              <a:rPr lang="en-US" sz="1800" i="1" dirty="0">
                <a:solidFill>
                  <a:schemeClr val="bg2"/>
                </a:solidFill>
              </a:rPr>
              <a:t>SAP Reference IMG → Financial Accounting → Financial Accounting Global Settings → Document → Line Item → Define Substitution in Accounting Documents → Environment → Substitution.</a:t>
            </a:r>
          </a:p>
          <a:p>
            <a:pPr>
              <a:buNone/>
            </a:pPr>
            <a:endParaRPr lang="en-US" sz="1800" i="1" dirty="0">
              <a:solidFill>
                <a:schemeClr val="bg2"/>
              </a:solidFill>
            </a:endParaRPr>
          </a:p>
          <a:p>
            <a:r>
              <a:rPr lang="en-US" sz="1800" b="1" dirty="0"/>
              <a:t>SETS</a:t>
            </a:r>
          </a:p>
          <a:p>
            <a:pPr>
              <a:buNone/>
            </a:pPr>
            <a:r>
              <a:rPr lang="en-US" sz="1800" i="1" dirty="0">
                <a:solidFill>
                  <a:schemeClr val="bg2"/>
                </a:solidFill>
              </a:rPr>
              <a:t>SAP Easy Access → Accounting → Financial Accounting → Special Purpose Ledger → Tools → Set Maintenance → Sets → Create.</a:t>
            </a:r>
          </a:p>
          <a:p>
            <a:r>
              <a:rPr lang="en-US" sz="1800" dirty="0" err="1"/>
              <a:t>T.Codes</a:t>
            </a:r>
            <a:r>
              <a:rPr lang="en-US" sz="1800" dirty="0"/>
              <a:t>:</a:t>
            </a:r>
            <a:br>
              <a:rPr lang="en-US" sz="1800" dirty="0"/>
            </a:br>
            <a:r>
              <a:rPr lang="en-US" sz="1800" dirty="0"/>
              <a:t>Validation - GGB0, Substitution - GGB1, Set: GS01 (Creation), GS02 (Change), GS03 (Display).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xmlns="" id="{7E84B6B5-CB99-428E-B2C8-EBF46EF8DB5C}"/>
              </a:ext>
            </a:extLst>
          </p:cNvPr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8153400" y="71851"/>
            <a:ext cx="768279" cy="690149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F462C0A9-CDEF-4285-A3FF-3FF42D863C3D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 xmlns="">
                  <a14:imgLayer r:embed="rId4">
                    <a14:imgEffect>
                      <a14:brightnessContrast bright="20000" contrast="-40000"/>
                    </a14:imgEffect>
                  </a14:imgLayer>
                </a14:imgProps>
              </a:ext>
            </a:extLst>
          </a:blip>
          <a:srcRect r="49475" b="-1395"/>
          <a:stretch/>
        </p:blipFill>
        <p:spPr>
          <a:xfrm>
            <a:off x="162496" y="6199419"/>
            <a:ext cx="2057400" cy="647079"/>
          </a:xfrm>
          <a:prstGeom prst="rect">
            <a:avLst/>
          </a:prstGeom>
        </p:spPr>
      </p:pic>
    </p:spTree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en-US" dirty="0"/>
              <a:t>Rules and Set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None/>
            </a:pPr>
            <a:r>
              <a:rPr lang="en-US" b="1" u="sng" dirty="0"/>
              <a:t>Summary:</a:t>
            </a:r>
            <a:endParaRPr lang="en-US" sz="1800" b="1" u="sng" dirty="0"/>
          </a:p>
          <a:p>
            <a:pPr>
              <a:buNone/>
            </a:pPr>
            <a:r>
              <a:rPr lang="en-US" sz="1800" b="1" dirty="0"/>
              <a:t>Now you should be able to:</a:t>
            </a:r>
          </a:p>
          <a:p>
            <a:pPr>
              <a:buNone/>
            </a:pPr>
            <a:endParaRPr lang="en-US" sz="1800" b="1" dirty="0"/>
          </a:p>
          <a:p>
            <a:r>
              <a:rPr lang="en-US" sz="1800" dirty="0"/>
              <a:t>Define Rules and use it.</a:t>
            </a:r>
          </a:p>
          <a:p>
            <a:r>
              <a:rPr lang="en-US" sz="1800" dirty="0"/>
              <a:t>Define Sets and use it.</a:t>
            </a:r>
          </a:p>
          <a:p>
            <a:endParaRPr lang="en-US" sz="1800" b="1" dirty="0"/>
          </a:p>
          <a:p>
            <a:endParaRPr lang="en-US" sz="1800" b="1" dirty="0"/>
          </a:p>
        </p:txBody>
      </p:sp>
      <p:pic>
        <p:nvPicPr>
          <p:cNvPr id="4" name="Picture 3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162800" y="3048000"/>
            <a:ext cx="1676400" cy="3352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186CEBB9-3220-4529-9370-45344BC906F4}"/>
              </a:ext>
            </a:extLst>
          </p:cNvPr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8153400" y="71851"/>
            <a:ext cx="768279" cy="69014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xmlns="" id="{615EC25B-AAA0-44F9-B3EE-6F75E0AD787D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BEBA8EAE-BF5A-486C-A8C5-ECC9F3942E4B}">
                <a14:imgProps xmlns:a14="http://schemas.microsoft.com/office/drawing/2010/main" xmlns="">
                  <a14:imgLayer r:embed="rId5">
                    <a14:imgEffect>
                      <a14:brightnessContrast bright="20000" contrast="-40000"/>
                    </a14:imgEffect>
                  </a14:imgLayer>
                </a14:imgProps>
              </a:ext>
            </a:extLst>
          </a:blip>
          <a:srcRect r="49475" b="-1395"/>
          <a:stretch/>
        </p:blipFill>
        <p:spPr>
          <a:xfrm>
            <a:off x="162496" y="6199419"/>
            <a:ext cx="2057400" cy="647079"/>
          </a:xfrm>
          <a:prstGeom prst="rect">
            <a:avLst/>
          </a:prstGeom>
        </p:spPr>
      </p:pic>
    </p:spTree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alidations and Substitutions: Exercise Tim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923925"/>
            <a:ext cx="7991475" cy="4867275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sz="1600" dirty="0"/>
              <a:t>Each step has how many parts what are they (both in validation and substitution)?</a:t>
            </a:r>
          </a:p>
          <a:p>
            <a:pPr>
              <a:lnSpc>
                <a:spcPct val="100000"/>
              </a:lnSpc>
            </a:pPr>
            <a:r>
              <a:rPr lang="en-US" sz="1600" dirty="0"/>
              <a:t>Maximum number of steps in validation/substitutions?</a:t>
            </a:r>
          </a:p>
          <a:p>
            <a:pPr>
              <a:lnSpc>
                <a:spcPct val="100000"/>
              </a:lnSpc>
            </a:pPr>
            <a:r>
              <a:rPr lang="en-US" sz="1600" dirty="0"/>
              <a:t>Number of substitution methods and what are they?</a:t>
            </a:r>
          </a:p>
          <a:p>
            <a:pPr>
              <a:lnSpc>
                <a:spcPct val="100000"/>
              </a:lnSpc>
            </a:pPr>
            <a:r>
              <a:rPr lang="en-US" sz="1600" dirty="0"/>
              <a:t>Syntax rule for SET? (WHERE/IN)</a:t>
            </a:r>
          </a:p>
          <a:p>
            <a:pPr>
              <a:lnSpc>
                <a:spcPct val="100000"/>
              </a:lnSpc>
              <a:buNone/>
            </a:pPr>
            <a:r>
              <a:rPr lang="en-US" sz="1600" b="1" dirty="0"/>
              <a:t>For Practice (in company code 1000)</a:t>
            </a:r>
          </a:p>
          <a:p>
            <a:pPr>
              <a:lnSpc>
                <a:spcPct val="100000"/>
              </a:lnSpc>
            </a:pPr>
            <a:r>
              <a:rPr lang="en-US" sz="1600" dirty="0"/>
              <a:t>For your vendor invoice, you must ensure that only the telephone cost center (T-A20F) is entered for the telephoning expenses (account 473110 or 473120). If you assign an incorrect cost center, you should receive an error message (E): Please assign only cost center T-A20F for account &amp;!. (&amp; is a wildcard for the account to be output.)</a:t>
            </a:r>
          </a:p>
          <a:p>
            <a:pPr>
              <a:lnSpc>
                <a:spcPct val="100000"/>
              </a:lnSpc>
            </a:pPr>
            <a:r>
              <a:rPr lang="en-US" sz="1600" dirty="0"/>
              <a:t>For your customer invoice, you must ensure that Profit Center PC00 be substituted when a certain revenue account (810201 or 810301) [BSEG-HKONT], combined with a special region (N-001 or S-001) [BSEG-ZZSPREG], is entered.</a:t>
            </a:r>
          </a:p>
          <a:p>
            <a:pPr>
              <a:lnSpc>
                <a:spcPct val="100000"/>
              </a:lnSpc>
            </a:pPr>
            <a:r>
              <a:rPr lang="en-US" sz="1600" dirty="0"/>
              <a:t>If the user enters a certain revenue account (810201, 810301 or 810401) with a </a:t>
            </a:r>
            <a:r>
              <a:rPr lang="fr-FR" sz="1600" dirty="0"/>
              <a:t>certain material number (T-IC-R2007, T-IC-R2008 or T-IC-R2009), profit center </a:t>
            </a:r>
            <a:r>
              <a:rPr lang="en-US" sz="1600" dirty="0"/>
              <a:t>PC01 is to be substituted.</a:t>
            </a:r>
          </a:p>
        </p:txBody>
      </p:sp>
      <p:pic>
        <p:nvPicPr>
          <p:cNvPr id="4" name="Picture 2" descr="C:\Documents and Settings\rpotturi\Local Settings\Temporary Internet Files\Content.IE5\O1I78H6N\MC900048774[1].wmf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086600" y="5542879"/>
            <a:ext cx="1295400" cy="1315121"/>
          </a:xfrm>
          <a:prstGeom prst="rect">
            <a:avLst/>
          </a:prstGeom>
          <a:noFill/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E63DD311-2D2B-4022-884F-77283A4B7BA3}"/>
              </a:ext>
            </a:extLst>
          </p:cNvPr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8153400" y="71851"/>
            <a:ext cx="768279" cy="69014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xmlns="" id="{D557AA7C-F426-4C85-8A45-6A34CFCA2A7B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BEBA8EAE-BF5A-486C-A8C5-ECC9F3942E4B}">
                <a14:imgProps xmlns:a14="http://schemas.microsoft.com/office/drawing/2010/main" xmlns="">
                  <a14:imgLayer r:embed="rId5">
                    <a14:imgEffect>
                      <a14:brightnessContrast bright="20000" contrast="-40000"/>
                    </a14:imgEffect>
                  </a14:imgLayer>
                </a14:imgProps>
              </a:ext>
            </a:extLst>
          </a:blip>
          <a:srcRect r="49475" b="-1395"/>
          <a:stretch/>
        </p:blipFill>
        <p:spPr>
          <a:xfrm>
            <a:off x="162496" y="6199419"/>
            <a:ext cx="2057400" cy="647079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7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2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7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2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7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42" dur="5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URSE SUMMARY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1000" y="838200"/>
            <a:ext cx="7991475" cy="4867275"/>
          </a:xfrm>
        </p:spPr>
        <p:txBody>
          <a:bodyPr/>
          <a:lstStyle/>
          <a:p>
            <a:pPr algn="just">
              <a:buNone/>
            </a:pPr>
            <a:endParaRPr lang="en-US" sz="1800" b="1" dirty="0"/>
          </a:p>
          <a:p>
            <a:pPr algn="just"/>
            <a:r>
              <a:rPr lang="en-US" sz="1600" dirty="0"/>
              <a:t>Explain the ways in which validation and substitution can be used using a few examples</a:t>
            </a:r>
          </a:p>
          <a:p>
            <a:pPr algn="just"/>
            <a:r>
              <a:rPr lang="en-US" sz="1600" dirty="0"/>
              <a:t>Identify the areas of application and callup points of validation and substitution in Financial Accounting</a:t>
            </a:r>
          </a:p>
          <a:p>
            <a:pPr algn="just"/>
            <a:r>
              <a:rPr lang="en-US" sz="1600" dirty="0"/>
              <a:t>Enter rules and define the Customizing of system messages to be output (prerequisites, check, generation)</a:t>
            </a:r>
          </a:p>
          <a:p>
            <a:pPr algn="just"/>
            <a:r>
              <a:rPr lang="en-US" sz="1600" dirty="0"/>
              <a:t>Execute validations using your own rules and defined system messages</a:t>
            </a:r>
          </a:p>
          <a:p>
            <a:pPr algn="just"/>
            <a:r>
              <a:rPr lang="en-US" sz="1600" dirty="0"/>
              <a:t>Provide the prerequisites for substitution</a:t>
            </a:r>
          </a:p>
          <a:p>
            <a:pPr algn="just"/>
            <a:r>
              <a:rPr lang="en-US" sz="1600" dirty="0"/>
              <a:t>Define your own rules, specify substituted values and execute substitutions</a:t>
            </a:r>
          </a:p>
          <a:p>
            <a:pPr algn="just"/>
            <a:r>
              <a:rPr lang="en-US" sz="1600" dirty="0"/>
              <a:t>Explain how to use rules and use them</a:t>
            </a:r>
          </a:p>
          <a:p>
            <a:pPr algn="just"/>
            <a:r>
              <a:rPr lang="en-US" sz="1600" dirty="0"/>
              <a:t>Explain how to use sets and use them</a:t>
            </a:r>
          </a:p>
        </p:txBody>
      </p:sp>
      <p:pic>
        <p:nvPicPr>
          <p:cNvPr id="5" name="Picture 3" descr="C:\Documents and Settings\rpotturi\Local Settings\Temporary Internet Files\Content.IE5\0HYVKPEB\MC900078772[1].wmf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794637" y="3968496"/>
            <a:ext cx="4349363" cy="2889504"/>
          </a:xfrm>
          <a:prstGeom prst="rect">
            <a:avLst/>
          </a:prstGeom>
          <a:noFill/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xmlns="" id="{D56546DE-ECE5-4531-BFD5-67A0C7033F92}"/>
              </a:ext>
            </a:extLst>
          </p:cNvPr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8153400" y="71851"/>
            <a:ext cx="768279" cy="690149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xmlns="" id="{B4D015A3-6F3F-4553-A9FE-F260CA56C76A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BEBA8EAE-BF5A-486C-A8C5-ECC9F3942E4B}">
                <a14:imgProps xmlns:a14="http://schemas.microsoft.com/office/drawing/2010/main" xmlns="">
                  <a14:imgLayer r:embed="rId5">
                    <a14:imgEffect>
                      <a14:brightnessContrast bright="20000" contrast="-40000"/>
                    </a14:imgEffect>
                  </a14:imgLayer>
                </a14:imgProps>
              </a:ext>
            </a:extLst>
          </a:blip>
          <a:srcRect r="49475" b="-1395"/>
          <a:stretch/>
        </p:blipFill>
        <p:spPr>
          <a:xfrm>
            <a:off x="162496" y="6199419"/>
            <a:ext cx="2057400" cy="647079"/>
          </a:xfrm>
          <a:prstGeom prst="rect">
            <a:avLst/>
          </a:prstGeom>
        </p:spPr>
      </p:pic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ENTS</a:t>
            </a:r>
          </a:p>
        </p:txBody>
      </p:sp>
      <p:graphicFrame>
        <p:nvGraphicFramePr>
          <p:cNvPr id="4" name="Diagram 3"/>
          <p:cNvGraphicFramePr/>
          <p:nvPr/>
        </p:nvGraphicFramePr>
        <p:xfrm>
          <a:off x="838200" y="1143000"/>
          <a:ext cx="7391400" cy="47244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9425C32D-FC52-4D34-9FD0-8F8D386240B0}"/>
              </a:ext>
            </a:extLst>
          </p:cNvPr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8153400" y="71851"/>
            <a:ext cx="768279" cy="69014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xmlns="" id="{380AD479-A2D1-4648-A948-8BC94A69BB29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print">
            <a:extLst>
              <a:ext uri="{BEBA8EAE-BF5A-486C-A8C5-ECC9F3942E4B}">
                <a14:imgProps xmlns:a14="http://schemas.microsoft.com/office/drawing/2010/main" xmlns="">
                  <a14:imgLayer r:embed="rId9">
                    <a14:imgEffect>
                      <a14:brightnessContrast bright="20000" contrast="-40000"/>
                    </a14:imgEffect>
                  </a14:imgLayer>
                </a14:imgProps>
              </a:ext>
            </a:extLst>
          </a:blip>
          <a:srcRect r="49475" b="-1395"/>
          <a:stretch/>
        </p:blipFill>
        <p:spPr>
          <a:xfrm>
            <a:off x="162496" y="6199419"/>
            <a:ext cx="2057400" cy="647079"/>
          </a:xfrm>
          <a:prstGeom prst="rect">
            <a:avLst/>
          </a:prstGeom>
        </p:spPr>
      </p:pic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en-US" dirty="0"/>
              <a:t/>
            </a:r>
            <a:br>
              <a:rPr lang="en-US" dirty="0"/>
            </a:br>
            <a:r>
              <a:rPr lang="en-US" dirty="0"/>
              <a:t>Basics of Validations/Substitutions</a:t>
            </a:r>
            <a:br>
              <a:rPr lang="en-US" dirty="0"/>
            </a:b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3400" y="1066800"/>
            <a:ext cx="7991475" cy="4867275"/>
          </a:xfrm>
        </p:spPr>
        <p:txBody>
          <a:bodyPr/>
          <a:lstStyle/>
          <a:p>
            <a:pPr>
              <a:buNone/>
            </a:pPr>
            <a:r>
              <a:rPr lang="en-US" b="1" u="sng" dirty="0"/>
              <a:t>Objective:</a:t>
            </a:r>
          </a:p>
          <a:p>
            <a:pPr>
              <a:buNone/>
            </a:pPr>
            <a:r>
              <a:rPr lang="en-US" sz="1800" b="1" dirty="0"/>
              <a:t>After the lesson you will be able to:</a:t>
            </a:r>
          </a:p>
          <a:p>
            <a:pPr>
              <a:buNone/>
            </a:pPr>
            <a:endParaRPr lang="en-US" b="1" dirty="0"/>
          </a:p>
          <a:p>
            <a:r>
              <a:rPr lang="en-US" sz="1800" dirty="0"/>
              <a:t>Define Validations and Substitutions</a:t>
            </a:r>
          </a:p>
          <a:p>
            <a:r>
              <a:rPr lang="en-US" sz="1800" dirty="0"/>
              <a:t>Executing Validations and Substitutions</a:t>
            </a:r>
          </a:p>
          <a:p>
            <a:r>
              <a:rPr lang="en-US" sz="1800" dirty="0"/>
              <a:t>Application areas and Call up points</a:t>
            </a:r>
          </a:p>
          <a:p>
            <a:r>
              <a:rPr lang="en-US" sz="1800" dirty="0"/>
              <a:t>Formulae editor</a:t>
            </a:r>
          </a:p>
          <a:p>
            <a:r>
              <a:rPr lang="en-US" sz="1800" dirty="0"/>
              <a:t>Assignments and activation</a:t>
            </a:r>
          </a:p>
          <a:p>
            <a:r>
              <a:rPr lang="en-US" b="1" u="sng" dirty="0"/>
              <a:t>Transactions codes</a:t>
            </a:r>
            <a:r>
              <a:rPr lang="en-US" dirty="0"/>
              <a:t>:</a:t>
            </a:r>
            <a:br>
              <a:rPr lang="en-US" dirty="0"/>
            </a:br>
            <a:r>
              <a:rPr lang="en-US" dirty="0"/>
              <a:t/>
            </a:r>
            <a:br>
              <a:rPr lang="en-US" dirty="0"/>
            </a:br>
            <a:r>
              <a:rPr lang="en-US" dirty="0"/>
              <a:t>Validation – OB28 / GGB0.</a:t>
            </a:r>
          </a:p>
          <a:p>
            <a:pPr>
              <a:buNone/>
            </a:pPr>
            <a:r>
              <a:rPr lang="en-US" dirty="0"/>
              <a:t>  Substitution – OBBH / GGB1.</a:t>
            </a:r>
          </a:p>
          <a:p>
            <a:endParaRPr lang="en-US" b="1" dirty="0"/>
          </a:p>
        </p:txBody>
      </p:sp>
      <p:pic>
        <p:nvPicPr>
          <p:cNvPr id="4" name="Picture 2" descr="C:\Documents and Settings\rpotturi\Local Settings\Temporary Internet Files\Content.IE5\W5Y74T6F\MC900197655[1].wmf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400800" y="914400"/>
            <a:ext cx="1600200" cy="1388654"/>
          </a:xfrm>
          <a:prstGeom prst="rect">
            <a:avLst/>
          </a:prstGeom>
          <a:noFill/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BFA3D734-BB7B-4715-8120-12E905F56C6A}"/>
              </a:ext>
            </a:extLst>
          </p:cNvPr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8153400" y="71851"/>
            <a:ext cx="768279" cy="69014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xmlns="" id="{BB9FA695-802D-4BFE-AD0E-85E0401197DA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BEBA8EAE-BF5A-486C-A8C5-ECC9F3942E4B}">
                <a14:imgProps xmlns:a14="http://schemas.microsoft.com/office/drawing/2010/main" xmlns="">
                  <a14:imgLayer r:embed="rId6">
                    <a14:imgEffect>
                      <a14:brightnessContrast bright="20000" contrast="-40000"/>
                    </a14:imgEffect>
                  </a14:imgLayer>
                </a14:imgProps>
              </a:ext>
            </a:extLst>
          </a:blip>
          <a:srcRect r="49475" b="-1395"/>
          <a:stretch/>
        </p:blipFill>
        <p:spPr>
          <a:xfrm>
            <a:off x="162496" y="6199419"/>
            <a:ext cx="2057400" cy="647079"/>
          </a:xfrm>
          <a:prstGeom prst="rect">
            <a:avLst/>
          </a:prstGeom>
        </p:spPr>
      </p:pic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eaning of Validations &amp; Substitution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914400"/>
            <a:ext cx="7991475" cy="4867275"/>
          </a:xfrm>
        </p:spPr>
        <p:txBody>
          <a:bodyPr/>
          <a:lstStyle/>
          <a:p>
            <a:pPr>
              <a:buNone/>
            </a:pPr>
            <a:r>
              <a:rPr lang="en-US" sz="1800" b="1" dirty="0"/>
              <a:t>Validations</a:t>
            </a:r>
          </a:p>
          <a:p>
            <a:pPr algn="just"/>
            <a:r>
              <a:rPr lang="en-US" sz="1600" dirty="0"/>
              <a:t>The validation function helps you to check the entered values and value intervals. If the values are not as per rule, it shows message/error/information.</a:t>
            </a:r>
          </a:p>
          <a:p>
            <a:pPr algn="just"/>
            <a:r>
              <a:rPr lang="en-US" sz="1600" dirty="0"/>
              <a:t>When data are entered in the system, the Rule Manager validates the data according to the validation rules.</a:t>
            </a:r>
          </a:p>
          <a:p>
            <a:pPr algn="just">
              <a:buNone/>
            </a:pPr>
            <a:endParaRPr lang="en-US" sz="1800" b="1" dirty="0"/>
          </a:p>
          <a:p>
            <a:pPr algn="just">
              <a:buNone/>
            </a:pPr>
            <a:r>
              <a:rPr lang="en-US" sz="1800" b="1" dirty="0"/>
              <a:t>Substitutions</a:t>
            </a:r>
          </a:p>
          <a:p>
            <a:pPr algn="just"/>
            <a:r>
              <a:rPr lang="en-US" sz="1600" dirty="0"/>
              <a:t>Values entered into the SAP system are validated according to a prerequisite defined by the user. If the prerequisite is met, the system replaces the values entered with other values.</a:t>
            </a:r>
          </a:p>
          <a:p>
            <a:endParaRPr lang="en-US" dirty="0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38200" y="3962400"/>
            <a:ext cx="6324600" cy="2133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6" name="TextBox 5"/>
          <p:cNvSpPr txBox="1"/>
          <p:nvPr/>
        </p:nvSpPr>
        <p:spPr>
          <a:xfrm>
            <a:off x="7391400" y="4267200"/>
            <a:ext cx="1600200" cy="1200329"/>
          </a:xfrm>
          <a:prstGeom prst="rect">
            <a:avLst/>
          </a:prstGeom>
          <a:solidFill>
            <a:schemeClr val="accent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You define these using </a:t>
            </a:r>
            <a:r>
              <a:rPr lang="en-US" b="1" dirty="0"/>
              <a:t>Boolean’s logic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xmlns="" id="{D4A38180-9B71-4549-9B20-FF05993FE6CD}"/>
              </a:ext>
            </a:extLst>
          </p:cNvPr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8153400" y="71851"/>
            <a:ext cx="768279" cy="690149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xmlns="" id="{FF60912A-8980-44A1-B702-7CA9C67E3AE5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BEBA8EAE-BF5A-486C-A8C5-ECC9F3942E4B}">
                <a14:imgProps xmlns:a14="http://schemas.microsoft.com/office/drawing/2010/main" xmlns="">
                  <a14:imgLayer r:embed="rId5">
                    <a14:imgEffect>
                      <a14:brightnessContrast bright="20000" contrast="-40000"/>
                    </a14:imgEffect>
                  </a14:imgLayer>
                </a14:imgProps>
              </a:ext>
            </a:extLst>
          </a:blip>
          <a:srcRect r="49475" b="-1395"/>
          <a:stretch/>
        </p:blipFill>
        <p:spPr>
          <a:xfrm>
            <a:off x="162496" y="6199419"/>
            <a:ext cx="2057400" cy="647079"/>
          </a:xfrm>
          <a:prstGeom prst="rect">
            <a:avLst/>
          </a:prstGeom>
        </p:spPr>
      </p:pic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eps to execute Validation/Substitu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342900" indent="-342900" algn="just">
              <a:buFont typeface="+mj-lt"/>
              <a:buAutoNum type="arabicPeriod"/>
            </a:pPr>
            <a:r>
              <a:rPr lang="en-US" sz="1800" dirty="0"/>
              <a:t>You must decide for which </a:t>
            </a:r>
            <a:r>
              <a:rPr lang="en-US" sz="1800" b="1" dirty="0"/>
              <a:t>area of application </a:t>
            </a:r>
            <a:r>
              <a:rPr lang="en-US" sz="1800" dirty="0"/>
              <a:t>validation/substitution should apply.(Examples: FI, CO, AM, PC etc.)</a:t>
            </a:r>
          </a:p>
          <a:p>
            <a:pPr marL="342900" indent="-342900" algn="just">
              <a:buFont typeface="+mj-lt"/>
              <a:buAutoNum type="arabicPeriod"/>
            </a:pPr>
            <a:r>
              <a:rPr lang="en-US" sz="1800" dirty="0"/>
              <a:t>The correct</a:t>
            </a:r>
            <a:r>
              <a:rPr lang="en-US" sz="1800" b="1" dirty="0"/>
              <a:t> callup </a:t>
            </a:r>
            <a:r>
              <a:rPr lang="en-US" sz="1800" dirty="0"/>
              <a:t>point for the validation/substitution must be selected. There are three call up points are specified.</a:t>
            </a:r>
          </a:p>
          <a:p>
            <a:pPr marL="685800" lvl="1" indent="-342900">
              <a:buFont typeface="Wingdings" pitchFamily="2" charset="2"/>
              <a:buChar char="Ø"/>
            </a:pPr>
            <a:r>
              <a:rPr lang="en-US" sz="1600" dirty="0"/>
              <a:t>Document header</a:t>
            </a:r>
          </a:p>
          <a:p>
            <a:pPr marL="685800" lvl="1" indent="-342900">
              <a:buFont typeface="Wingdings" pitchFamily="2" charset="2"/>
              <a:buChar char="Ø"/>
            </a:pPr>
            <a:r>
              <a:rPr lang="en-US" sz="1600" dirty="0"/>
              <a:t>Document line item</a:t>
            </a:r>
          </a:p>
          <a:p>
            <a:pPr marL="685800" lvl="1" indent="-342900">
              <a:buFont typeface="Wingdings" pitchFamily="2" charset="2"/>
              <a:buChar char="Ø"/>
            </a:pPr>
            <a:r>
              <a:rPr lang="en-US" sz="1600" dirty="0"/>
              <a:t>Complete document</a:t>
            </a:r>
          </a:p>
          <a:p>
            <a:pPr marL="342900" indent="-342900" algn="just">
              <a:buFont typeface="+mj-lt"/>
              <a:buAutoNum type="arabicPeriod"/>
            </a:pPr>
            <a:r>
              <a:rPr lang="en-US" sz="1800" dirty="0"/>
              <a:t>The validation/substitution must be defined.</a:t>
            </a:r>
          </a:p>
          <a:p>
            <a:pPr marL="342900" indent="-342900" algn="just">
              <a:buNone/>
            </a:pPr>
            <a:r>
              <a:rPr lang="en-US" sz="1800" dirty="0"/>
              <a:t>	Area of application and the call up point can be used for your validation/substitution are specified.</a:t>
            </a:r>
          </a:p>
          <a:p>
            <a:pPr marL="342900" indent="-342900" algn="just">
              <a:buNone/>
            </a:pPr>
            <a:r>
              <a:rPr lang="en-US" sz="1800" dirty="0"/>
              <a:t>4.	You must assign your validation/substitution to an appropriate organizational unit (e.g. company code for Financial Accounting, company code or company for FI-SL, controlling area for CO)</a:t>
            </a:r>
          </a:p>
          <a:p>
            <a:pPr marL="342900" indent="-342900" algn="just">
              <a:buNone/>
            </a:pPr>
            <a:r>
              <a:rPr lang="en-US" sz="1800" dirty="0"/>
              <a:t>5.	Activate it.</a:t>
            </a:r>
          </a:p>
          <a:p>
            <a:pPr algn="just">
              <a:buNone/>
            </a:pPr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xmlns="" id="{7D31C68F-3C42-46E7-95E6-06CCDA20B084}"/>
              </a:ext>
            </a:extLst>
          </p:cNvPr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8153400" y="71851"/>
            <a:ext cx="768279" cy="690149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75670D6A-A01A-4912-8DE9-6539850259B6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 xmlns="">
                  <a14:imgLayer r:embed="rId4">
                    <a14:imgEffect>
                      <a14:brightnessContrast bright="20000" contrast="-40000"/>
                    </a14:imgEffect>
                  </a14:imgLayer>
                </a14:imgProps>
              </a:ext>
            </a:extLst>
          </a:blip>
          <a:srcRect r="49475" b="-1395"/>
          <a:stretch/>
        </p:blipFill>
        <p:spPr>
          <a:xfrm>
            <a:off x="162496" y="6199419"/>
            <a:ext cx="2057400" cy="647079"/>
          </a:xfrm>
          <a:prstGeom prst="rect">
            <a:avLst/>
          </a:prstGeom>
        </p:spPr>
      </p:pic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ounded Rectangle 7"/>
          <p:cNvSpPr/>
          <p:nvPr/>
        </p:nvSpPr>
        <p:spPr bwMode="auto">
          <a:xfrm>
            <a:off x="533400" y="2971800"/>
            <a:ext cx="7391400" cy="1219200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 w="19050" cap="flat" cmpd="sng" algn="ctr">
            <a:solidFill>
              <a:srgbClr val="003366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000" b="1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allup point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990600"/>
            <a:ext cx="7467600" cy="4867275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sz="1600" b="1" dirty="0"/>
              <a:t>Document header fields can be validated at callup point 1.</a:t>
            </a:r>
          </a:p>
          <a:p>
            <a:pPr>
              <a:lnSpc>
                <a:spcPct val="100000"/>
              </a:lnSpc>
              <a:buNone/>
            </a:pPr>
            <a:r>
              <a:rPr lang="en-US" sz="1400" i="1" dirty="0"/>
              <a:t>Example: If posting date &lt;&gt; document date then issue warning message.</a:t>
            </a:r>
          </a:p>
          <a:p>
            <a:pPr>
              <a:lnSpc>
                <a:spcPct val="100000"/>
              </a:lnSpc>
              <a:buNone/>
            </a:pPr>
            <a:endParaRPr lang="en-US" sz="1400" i="1" dirty="0"/>
          </a:p>
          <a:p>
            <a:pPr>
              <a:lnSpc>
                <a:spcPct val="100000"/>
              </a:lnSpc>
            </a:pPr>
            <a:r>
              <a:rPr lang="en-US" sz="1600" b="1" dirty="0"/>
              <a:t>Document line item fields can be validated in callup point 2.</a:t>
            </a:r>
          </a:p>
          <a:p>
            <a:pPr>
              <a:lnSpc>
                <a:spcPct val="100000"/>
              </a:lnSpc>
              <a:buNone/>
            </a:pPr>
            <a:r>
              <a:rPr lang="en-US" sz="1400" i="1" dirty="0"/>
              <a:t>Example: For G/L account 400000 business area to be used is 0001. If not error message.</a:t>
            </a:r>
          </a:p>
          <a:p>
            <a:pPr>
              <a:lnSpc>
                <a:spcPct val="100000"/>
              </a:lnSpc>
              <a:buNone/>
            </a:pPr>
            <a:endParaRPr lang="en-US" sz="1400" i="1" dirty="0"/>
          </a:p>
          <a:p>
            <a:pPr>
              <a:buNone/>
            </a:pPr>
            <a:r>
              <a:rPr lang="en-US" sz="1600" dirty="0"/>
              <a:t>NOTE: The fields that are available for callup point 1 are also available in callup </a:t>
            </a:r>
          </a:p>
          <a:p>
            <a:pPr>
              <a:buNone/>
            </a:pPr>
            <a:r>
              <a:rPr lang="en-US" sz="1600" dirty="0"/>
              <a:t>                 point 2 for possible cross-validations.</a:t>
            </a:r>
          </a:p>
          <a:p>
            <a:pPr>
              <a:buNone/>
            </a:pPr>
            <a:r>
              <a:rPr lang="en-US" sz="1400" i="1" dirty="0"/>
              <a:t>Example: Only certain accounts can be used for selected document types.</a:t>
            </a:r>
          </a:p>
          <a:p>
            <a:pPr>
              <a:buNone/>
            </a:pPr>
            <a:endParaRPr lang="en-US" sz="1400" i="1" dirty="0"/>
          </a:p>
          <a:p>
            <a:pPr>
              <a:buNone/>
            </a:pPr>
            <a:endParaRPr lang="en-US" sz="1400" i="1" dirty="0"/>
          </a:p>
          <a:p>
            <a:pPr>
              <a:lnSpc>
                <a:spcPct val="100000"/>
              </a:lnSpc>
            </a:pPr>
            <a:r>
              <a:rPr lang="en-US" sz="1600" dirty="0"/>
              <a:t>At the </a:t>
            </a:r>
            <a:r>
              <a:rPr lang="en-US" sz="1600" b="1" dirty="0"/>
              <a:t>Complete document callup point, </a:t>
            </a:r>
            <a:r>
              <a:rPr lang="en-US" sz="1600" dirty="0"/>
              <a:t>you can use only those </a:t>
            </a:r>
            <a:r>
              <a:rPr lang="en-US" sz="1600" b="1" dirty="0"/>
              <a:t>numeric fields</a:t>
            </a:r>
            <a:r>
              <a:rPr lang="en-US" sz="1600" dirty="0"/>
              <a:t> with which you can primarily execute mathematical calculations.</a:t>
            </a:r>
          </a:p>
          <a:p>
            <a:pPr>
              <a:lnSpc>
                <a:spcPct val="100000"/>
              </a:lnSpc>
              <a:buNone/>
            </a:pPr>
            <a:r>
              <a:rPr lang="en-US" sz="1600" dirty="0"/>
              <a:t>      You can use the following operators  to work in callup point 3.</a:t>
            </a:r>
          </a:p>
          <a:p>
            <a:pPr lvl="1">
              <a:lnSpc>
                <a:spcPct val="100000"/>
              </a:lnSpc>
              <a:buNone/>
            </a:pPr>
            <a:r>
              <a:rPr lang="en-US" sz="1400" dirty="0"/>
              <a:t>   -  SUM (), AVG (), MAX () etc.</a:t>
            </a:r>
          </a:p>
          <a:p>
            <a:pPr>
              <a:lnSpc>
                <a:spcPct val="100000"/>
              </a:lnSpc>
            </a:pPr>
            <a:endParaRPr lang="en-US" sz="1600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00F38331-9172-43D0-A168-F31211894D2A}"/>
              </a:ext>
            </a:extLst>
          </p:cNvPr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8153400" y="71851"/>
            <a:ext cx="768279" cy="69014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xmlns="" id="{106C4AAC-B535-449F-AD93-EB382112BDFE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 xmlns="">
                  <a14:imgLayer r:embed="rId4">
                    <a14:imgEffect>
                      <a14:brightnessContrast bright="20000" contrast="-40000"/>
                    </a14:imgEffect>
                  </a14:imgLayer>
                </a14:imgProps>
              </a:ext>
            </a:extLst>
          </a:blip>
          <a:srcRect r="49475" b="-1395"/>
          <a:stretch/>
        </p:blipFill>
        <p:spPr>
          <a:xfrm>
            <a:off x="162496" y="6199419"/>
            <a:ext cx="2057400" cy="647079"/>
          </a:xfrm>
          <a:prstGeom prst="rect">
            <a:avLst/>
          </a:prstGeom>
        </p:spPr>
      </p:pic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ounded Rectangle 7"/>
          <p:cNvSpPr/>
          <p:nvPr/>
        </p:nvSpPr>
        <p:spPr bwMode="auto">
          <a:xfrm>
            <a:off x="228600" y="3886200"/>
            <a:ext cx="6172200" cy="2133600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 w="19050" cap="flat" cmpd="sng" algn="ctr">
            <a:solidFill>
              <a:srgbClr val="003366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000" b="1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ormula editor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19125" y="1152526"/>
            <a:ext cx="5629275" cy="4867275"/>
          </a:xfrm>
        </p:spPr>
        <p:txBody>
          <a:bodyPr/>
          <a:lstStyle/>
          <a:p>
            <a:r>
              <a:rPr lang="en-US" sz="1600" dirty="0"/>
              <a:t>The Formula Editor provides a user-friendly interface for entering arithmetic and logical statements.</a:t>
            </a:r>
          </a:p>
          <a:p>
            <a:endParaRPr lang="en-US" sz="1600" dirty="0"/>
          </a:p>
          <a:p>
            <a:r>
              <a:rPr lang="en-US" sz="1600" dirty="0"/>
              <a:t>The entry undergoes a step-by-step inspection for the correctness of the syntax.</a:t>
            </a:r>
          </a:p>
          <a:p>
            <a:endParaRPr lang="en-US" sz="1600" dirty="0"/>
          </a:p>
          <a:p>
            <a:r>
              <a:rPr lang="en-US" sz="1600" dirty="0"/>
              <a:t>The system permits only syntactically correct statements to be entered; as a result, no errors occur when entering rules.</a:t>
            </a:r>
          </a:p>
          <a:p>
            <a:endParaRPr lang="en-US" sz="1600" dirty="0"/>
          </a:p>
          <a:p>
            <a:pPr>
              <a:buNone/>
            </a:pPr>
            <a:r>
              <a:rPr lang="en-US" sz="1600" dirty="0"/>
              <a:t>	You can work with </a:t>
            </a:r>
          </a:p>
          <a:p>
            <a:pPr lvl="8"/>
            <a:r>
              <a:rPr lang="en-US" sz="1600" u="sng" dirty="0"/>
              <a:t>Short descriptions</a:t>
            </a:r>
          </a:p>
          <a:p>
            <a:pPr lvl="8"/>
            <a:endParaRPr lang="en-US" sz="1600" dirty="0"/>
          </a:p>
          <a:p>
            <a:pPr lvl="8"/>
            <a:endParaRPr lang="en-US" sz="1600" dirty="0"/>
          </a:p>
          <a:p>
            <a:pPr lvl="8"/>
            <a:r>
              <a:rPr lang="en-US" sz="1600" u="sng" dirty="0"/>
              <a:t>Technical names</a:t>
            </a:r>
          </a:p>
          <a:p>
            <a:pPr lvl="8"/>
            <a:endParaRPr lang="en-US" sz="1600" dirty="0"/>
          </a:p>
          <a:p>
            <a:pPr>
              <a:buNone/>
            </a:pPr>
            <a:r>
              <a:rPr lang="en-US" sz="1400" u="sng" dirty="0"/>
              <a:t>Expert mode</a:t>
            </a:r>
            <a:r>
              <a:rPr lang="en-US" sz="1400" dirty="0"/>
              <a:t>: Where you can define the formula freely.</a:t>
            </a:r>
          </a:p>
          <a:p>
            <a:endParaRPr lang="en-US" sz="1600" dirty="0"/>
          </a:p>
          <a:p>
            <a:endParaRPr lang="en-US" sz="1600" dirty="0"/>
          </a:p>
          <a:p>
            <a:endParaRPr lang="en-US" sz="1600" dirty="0"/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019800" y="914400"/>
            <a:ext cx="2751015" cy="28956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052" name="Picture 4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75462" y="4267200"/>
            <a:ext cx="3710763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053" name="Picture 5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57200" y="5105400"/>
            <a:ext cx="3733800" cy="3182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xmlns="" id="{299537D4-2D77-41FA-8BEB-CE0AB55EFF22}"/>
              </a:ext>
            </a:extLst>
          </p:cNvPr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8153400" y="71851"/>
            <a:ext cx="768279" cy="690149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xmlns="" id="{B7FAB163-03B6-4F4C-A4CD-6AFA85CA0D11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BEBA8EAE-BF5A-486C-A8C5-ECC9F3942E4B}">
                <a14:imgProps xmlns:a14="http://schemas.microsoft.com/office/drawing/2010/main" xmlns="">
                  <a14:imgLayer r:embed="rId7">
                    <a14:imgEffect>
                      <a14:brightnessContrast bright="20000" contrast="-40000"/>
                    </a14:imgEffect>
                  </a14:imgLayer>
                </a14:imgProps>
              </a:ext>
            </a:extLst>
          </a:blip>
          <a:srcRect r="49475" b="-1395"/>
          <a:stretch/>
        </p:blipFill>
        <p:spPr>
          <a:xfrm>
            <a:off x="162496" y="6199419"/>
            <a:ext cx="2057400" cy="647079"/>
          </a:xfrm>
          <a:prstGeom prst="rect">
            <a:avLst/>
          </a:prstGeom>
        </p:spPr>
      </p:pic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izCDI3sCkiGOfdTrEEhRg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Capgemini_pptwhite">
  <a:themeElements>
    <a:clrScheme name="1_Capgemini_pptwhite 12">
      <a:dk1>
        <a:srgbClr val="00306B"/>
      </a:dk1>
      <a:lt1>
        <a:srgbClr val="FFFFFF"/>
      </a:lt1>
      <a:dk2>
        <a:srgbClr val="00659C"/>
      </a:dk2>
      <a:lt2>
        <a:srgbClr val="777777"/>
      </a:lt2>
      <a:accent1>
        <a:srgbClr val="D6D3D6"/>
      </a:accent1>
      <a:accent2>
        <a:srgbClr val="07AFD7"/>
      </a:accent2>
      <a:accent3>
        <a:srgbClr val="FFFFFF"/>
      </a:accent3>
      <a:accent4>
        <a:srgbClr val="00275A"/>
      </a:accent4>
      <a:accent5>
        <a:srgbClr val="E8E6E8"/>
      </a:accent5>
      <a:accent6>
        <a:srgbClr val="069EC3"/>
      </a:accent6>
      <a:hlink>
        <a:srgbClr val="00008E"/>
      </a:hlink>
      <a:folHlink>
        <a:srgbClr val="FFBA00"/>
      </a:folHlink>
    </a:clrScheme>
    <a:fontScheme name="1_Capgemini_pptwhite">
      <a:majorFont>
        <a:latin typeface="Tahoma"/>
        <a:ea typeface=""/>
        <a:cs typeface=""/>
      </a:majorFont>
      <a:minorFont>
        <a:latin typeface="Tahoma"/>
        <a:ea typeface=""/>
        <a:cs typeface=""/>
      </a:minorFont>
    </a:fontScheme>
    <a:fmtScheme name="Origin">
      <a:fillStyleLst>
        <a:solidFill>
          <a:schemeClr val="phClr"/>
        </a:solidFill>
        <a:gradFill rotWithShape="1">
          <a:gsLst>
            <a:gs pos="0">
              <a:schemeClr val="phClr">
                <a:tint val="45000"/>
                <a:satMod val="200000"/>
              </a:schemeClr>
            </a:gs>
            <a:gs pos="30000">
              <a:schemeClr val="phClr">
                <a:tint val="61000"/>
                <a:satMod val="200000"/>
              </a:schemeClr>
            </a:gs>
            <a:gs pos="45000">
              <a:schemeClr val="phClr">
                <a:tint val="66000"/>
                <a:satMod val="200000"/>
              </a:schemeClr>
            </a:gs>
            <a:gs pos="55000">
              <a:schemeClr val="phClr">
                <a:tint val="66000"/>
                <a:satMod val="200000"/>
              </a:schemeClr>
            </a:gs>
            <a:gs pos="73000">
              <a:schemeClr val="phClr">
                <a:tint val="61000"/>
                <a:satMod val="200000"/>
              </a:schemeClr>
            </a:gs>
            <a:gs pos="100000">
              <a:schemeClr val="phClr">
                <a:tint val="45000"/>
                <a:satMod val="200000"/>
              </a:schemeClr>
            </a:gs>
          </a:gsLst>
          <a:lin ang="950000" scaled="1"/>
        </a:gradFill>
        <a:gradFill rotWithShape="1">
          <a:gsLst>
            <a:gs pos="0">
              <a:schemeClr val="phClr">
                <a:shade val="63000"/>
              </a:schemeClr>
            </a:gs>
            <a:gs pos="30000">
              <a:schemeClr val="phClr">
                <a:shade val="90000"/>
                <a:satMod val="110000"/>
              </a:schemeClr>
            </a:gs>
            <a:gs pos="45000">
              <a:schemeClr val="phClr">
                <a:shade val="100000"/>
                <a:satMod val="118000"/>
              </a:schemeClr>
            </a:gs>
            <a:gs pos="55000">
              <a:schemeClr val="phClr">
                <a:shade val="100000"/>
                <a:satMod val="118000"/>
              </a:schemeClr>
            </a:gs>
            <a:gs pos="73000">
              <a:schemeClr val="phClr">
                <a:shade val="90000"/>
                <a:satMod val="110000"/>
              </a:schemeClr>
            </a:gs>
            <a:gs pos="100000">
              <a:schemeClr val="phClr">
                <a:shade val="63000"/>
              </a:schemeClr>
            </a:gs>
          </a:gsLst>
          <a:lin ang="950000" scaled="1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25400" dir="5400000" rotWithShape="0">
              <a:srgbClr val="000000">
                <a:alpha val="40000"/>
              </a:srgbClr>
            </a:outerShdw>
          </a:effectLst>
        </a:effectStyle>
        <a:effectStyle>
          <a:effectLst>
            <a:outerShdw blurRad="50800" dist="43000" dir="5400000" rotWithShape="0">
              <a:srgbClr val="000000">
                <a:alpha val="40000"/>
              </a:srgbClr>
            </a:outerShdw>
          </a:effectLst>
          <a:scene3d>
            <a:camera prst="orthographicFront" fov="0">
              <a:rot lat="0" lon="0" rev="0"/>
            </a:camera>
            <a:lightRig rig="balanced" dir="t">
              <a:rot lat="0" lon="0" rev="0"/>
            </a:lightRig>
          </a:scene3d>
          <a:sp3d prstMaterial="matte">
            <a:bevelT w="0" h="0"/>
            <a:contourClr>
              <a:schemeClr val="phClr">
                <a:tint val="100000"/>
                <a:shade val="100000"/>
                <a:hueMod val="100000"/>
                <a:satMod val="100000"/>
              </a:schemeClr>
            </a:contourClr>
          </a:sp3d>
        </a:effectStyle>
        <a:effectStyle>
          <a:effectLst>
            <a:outerShdw blurRad="50800" dist="25400" dir="5400000" rotWithShape="0">
              <a:srgbClr val="000000">
                <a:alpha val="50000"/>
              </a:srgbClr>
            </a:outerShdw>
          </a:effectLst>
          <a:scene3d>
            <a:camera prst="orthographicFront" fov="0">
              <a:rot lat="0" lon="0" rev="0"/>
            </a:camera>
            <a:lightRig rig="soft" dir="t">
              <a:rot lat="0" lon="0" rev="2700000"/>
            </a:lightRig>
          </a:scene3d>
          <a:sp3d prstMaterial="matte">
            <a:bevelT w="50800" h="50800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9050" cap="flat" cmpd="sng" algn="ctr">
          <a:solidFill>
            <a:srgbClr val="003366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85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000" b="1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9050" cap="flat" cmpd="sng" algn="ctr">
          <a:solidFill>
            <a:srgbClr val="003366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85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000" b="1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1_Capgemini_pptwhite 1">
        <a:dk1>
          <a:srgbClr val="003366"/>
        </a:dk1>
        <a:lt1>
          <a:srgbClr val="FFFFFF"/>
        </a:lt1>
        <a:dk2>
          <a:srgbClr val="003366"/>
        </a:dk2>
        <a:lt2>
          <a:srgbClr val="B4D7C8"/>
        </a:lt2>
        <a:accent1>
          <a:srgbClr val="ACDCF0"/>
        </a:accent1>
        <a:accent2>
          <a:srgbClr val="FFD56B"/>
        </a:accent2>
        <a:accent3>
          <a:srgbClr val="AAADB8"/>
        </a:accent3>
        <a:accent4>
          <a:srgbClr val="DADADA"/>
        </a:accent4>
        <a:accent5>
          <a:srgbClr val="D2EBF6"/>
        </a:accent5>
        <a:accent6>
          <a:srgbClr val="E7C160"/>
        </a:accent6>
        <a:hlink>
          <a:srgbClr val="A6CE12"/>
        </a:hlink>
        <a:folHlink>
          <a:srgbClr val="DEAAB4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apgemini_pptwhite 2">
        <a:dk1>
          <a:srgbClr val="003366"/>
        </a:dk1>
        <a:lt1>
          <a:srgbClr val="003366"/>
        </a:lt1>
        <a:dk2>
          <a:srgbClr val="B4D7C8"/>
        </a:dk2>
        <a:lt2>
          <a:srgbClr val="003366"/>
        </a:lt2>
        <a:accent1>
          <a:srgbClr val="ACDCF0"/>
        </a:accent1>
        <a:accent2>
          <a:srgbClr val="FFD56B"/>
        </a:accent2>
        <a:accent3>
          <a:srgbClr val="AAADB8"/>
        </a:accent3>
        <a:accent4>
          <a:srgbClr val="002A56"/>
        </a:accent4>
        <a:accent5>
          <a:srgbClr val="D2EBF6"/>
        </a:accent5>
        <a:accent6>
          <a:srgbClr val="E7C160"/>
        </a:accent6>
        <a:hlink>
          <a:srgbClr val="A6CE12"/>
        </a:hlink>
        <a:folHlink>
          <a:srgbClr val="DEAAB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apgemini_pptwhite 3">
        <a:dk1>
          <a:srgbClr val="003366"/>
        </a:dk1>
        <a:lt1>
          <a:srgbClr val="FFFFFF"/>
        </a:lt1>
        <a:dk2>
          <a:srgbClr val="00659C"/>
        </a:dk2>
        <a:lt2>
          <a:srgbClr val="003366"/>
        </a:lt2>
        <a:accent1>
          <a:srgbClr val="D6D3D6"/>
        </a:accent1>
        <a:accent2>
          <a:srgbClr val="FFD56B"/>
        </a:accent2>
        <a:accent3>
          <a:srgbClr val="FFFFFF"/>
        </a:accent3>
        <a:accent4>
          <a:srgbClr val="002A56"/>
        </a:accent4>
        <a:accent5>
          <a:srgbClr val="E8E6E8"/>
        </a:accent5>
        <a:accent6>
          <a:srgbClr val="E7C160"/>
        </a:accent6>
        <a:hlink>
          <a:srgbClr val="A6CE12"/>
        </a:hlink>
        <a:folHlink>
          <a:srgbClr val="DEAAB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apgemini_pptwhite 4">
        <a:dk1>
          <a:srgbClr val="003366"/>
        </a:dk1>
        <a:lt1>
          <a:srgbClr val="FFFFFF"/>
        </a:lt1>
        <a:dk2>
          <a:srgbClr val="00659C"/>
        </a:dk2>
        <a:lt2>
          <a:srgbClr val="003366"/>
        </a:lt2>
        <a:accent1>
          <a:srgbClr val="D6D3D6"/>
        </a:accent1>
        <a:accent2>
          <a:srgbClr val="07AFD7"/>
        </a:accent2>
        <a:accent3>
          <a:srgbClr val="FFFFFF"/>
        </a:accent3>
        <a:accent4>
          <a:srgbClr val="002A56"/>
        </a:accent4>
        <a:accent5>
          <a:srgbClr val="E8E6E8"/>
        </a:accent5>
        <a:accent6>
          <a:srgbClr val="069EC3"/>
        </a:accent6>
        <a:hlink>
          <a:srgbClr val="A6CE12"/>
        </a:hlink>
        <a:folHlink>
          <a:srgbClr val="DEAAB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apgemini_pptwhite 5">
        <a:dk1>
          <a:srgbClr val="003366"/>
        </a:dk1>
        <a:lt1>
          <a:srgbClr val="FFFFFF"/>
        </a:lt1>
        <a:dk2>
          <a:srgbClr val="00659C"/>
        </a:dk2>
        <a:lt2>
          <a:srgbClr val="003366"/>
        </a:lt2>
        <a:accent1>
          <a:srgbClr val="D6D3D6"/>
        </a:accent1>
        <a:accent2>
          <a:srgbClr val="07AFD7"/>
        </a:accent2>
        <a:accent3>
          <a:srgbClr val="FFFFFF"/>
        </a:accent3>
        <a:accent4>
          <a:srgbClr val="002A56"/>
        </a:accent4>
        <a:accent5>
          <a:srgbClr val="E8E6E8"/>
        </a:accent5>
        <a:accent6>
          <a:srgbClr val="069EC3"/>
        </a:accent6>
        <a:hlink>
          <a:srgbClr val="B5D3CE"/>
        </a:hlink>
        <a:folHlink>
          <a:srgbClr val="DEAAB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apgemini_pptwhite 6">
        <a:dk1>
          <a:srgbClr val="00306B"/>
        </a:dk1>
        <a:lt1>
          <a:srgbClr val="FFFFFF"/>
        </a:lt1>
        <a:dk2>
          <a:srgbClr val="00659C"/>
        </a:dk2>
        <a:lt2>
          <a:srgbClr val="003366"/>
        </a:lt2>
        <a:accent1>
          <a:srgbClr val="D6D3D6"/>
        </a:accent1>
        <a:accent2>
          <a:srgbClr val="07AFD7"/>
        </a:accent2>
        <a:accent3>
          <a:srgbClr val="FFFFFF"/>
        </a:accent3>
        <a:accent4>
          <a:srgbClr val="00275A"/>
        </a:accent4>
        <a:accent5>
          <a:srgbClr val="E8E6E8"/>
        </a:accent5>
        <a:accent6>
          <a:srgbClr val="069EC3"/>
        </a:accent6>
        <a:hlink>
          <a:srgbClr val="F77900"/>
        </a:hlink>
        <a:folHlink>
          <a:srgbClr val="CED3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apgemini_pptwhite 7">
        <a:dk1>
          <a:srgbClr val="00306B"/>
        </a:dk1>
        <a:lt1>
          <a:srgbClr val="FFFFFF"/>
        </a:lt1>
        <a:dk2>
          <a:srgbClr val="00659C"/>
        </a:dk2>
        <a:lt2>
          <a:srgbClr val="003366"/>
        </a:lt2>
        <a:accent1>
          <a:srgbClr val="D6D3D6"/>
        </a:accent1>
        <a:accent2>
          <a:srgbClr val="07AFD7"/>
        </a:accent2>
        <a:accent3>
          <a:srgbClr val="FFFFFF"/>
        </a:accent3>
        <a:accent4>
          <a:srgbClr val="00275A"/>
        </a:accent4>
        <a:accent5>
          <a:srgbClr val="E8E6E8"/>
        </a:accent5>
        <a:accent6>
          <a:srgbClr val="069EC3"/>
        </a:accent6>
        <a:hlink>
          <a:srgbClr val="FFA54B"/>
        </a:hlink>
        <a:folHlink>
          <a:srgbClr val="CED3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apgemini_pptwhite 8">
        <a:dk1>
          <a:srgbClr val="00306B"/>
        </a:dk1>
        <a:lt1>
          <a:srgbClr val="FFFFFF"/>
        </a:lt1>
        <a:dk2>
          <a:srgbClr val="00659C"/>
        </a:dk2>
        <a:lt2>
          <a:srgbClr val="777777"/>
        </a:lt2>
        <a:accent1>
          <a:srgbClr val="D6D3D6"/>
        </a:accent1>
        <a:accent2>
          <a:srgbClr val="07AFD7"/>
        </a:accent2>
        <a:accent3>
          <a:srgbClr val="FFFFFF"/>
        </a:accent3>
        <a:accent4>
          <a:srgbClr val="00275A"/>
        </a:accent4>
        <a:accent5>
          <a:srgbClr val="E8E6E8"/>
        </a:accent5>
        <a:accent6>
          <a:srgbClr val="069EC3"/>
        </a:accent6>
        <a:hlink>
          <a:srgbClr val="FFA54B"/>
        </a:hlink>
        <a:folHlink>
          <a:srgbClr val="CED3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apgemini_pptwhite 9">
        <a:dk1>
          <a:srgbClr val="00306B"/>
        </a:dk1>
        <a:lt1>
          <a:srgbClr val="FFFFFF"/>
        </a:lt1>
        <a:dk2>
          <a:srgbClr val="00659C"/>
        </a:dk2>
        <a:lt2>
          <a:srgbClr val="777777"/>
        </a:lt2>
        <a:accent1>
          <a:srgbClr val="D6D3D6"/>
        </a:accent1>
        <a:accent2>
          <a:srgbClr val="07AFD7"/>
        </a:accent2>
        <a:accent3>
          <a:srgbClr val="FFFFFF"/>
        </a:accent3>
        <a:accent4>
          <a:srgbClr val="00275A"/>
        </a:accent4>
        <a:accent5>
          <a:srgbClr val="E8E6E8"/>
        </a:accent5>
        <a:accent6>
          <a:srgbClr val="069EC3"/>
        </a:accent6>
        <a:hlink>
          <a:srgbClr val="9DC3A3"/>
        </a:hlink>
        <a:folHlink>
          <a:srgbClr val="F77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apgemini_pptwhite 10">
        <a:dk1>
          <a:srgbClr val="00306B"/>
        </a:dk1>
        <a:lt1>
          <a:srgbClr val="FFFFFF"/>
        </a:lt1>
        <a:dk2>
          <a:srgbClr val="00659C"/>
        </a:dk2>
        <a:lt2>
          <a:srgbClr val="777777"/>
        </a:lt2>
        <a:accent1>
          <a:srgbClr val="D6D3D6"/>
        </a:accent1>
        <a:accent2>
          <a:srgbClr val="07AFD7"/>
        </a:accent2>
        <a:accent3>
          <a:srgbClr val="FFFFFF"/>
        </a:accent3>
        <a:accent4>
          <a:srgbClr val="00275A"/>
        </a:accent4>
        <a:accent5>
          <a:srgbClr val="E8E6E8"/>
        </a:accent5>
        <a:accent6>
          <a:srgbClr val="069EC3"/>
        </a:accent6>
        <a:hlink>
          <a:srgbClr val="9DC3A3"/>
        </a:hlink>
        <a:folHlink>
          <a:srgbClr val="FFBA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apgemini_pptwhite 11">
        <a:dk1>
          <a:srgbClr val="00306B"/>
        </a:dk1>
        <a:lt1>
          <a:srgbClr val="FFFFFF"/>
        </a:lt1>
        <a:dk2>
          <a:srgbClr val="00659C"/>
        </a:dk2>
        <a:lt2>
          <a:srgbClr val="777777"/>
        </a:lt2>
        <a:accent1>
          <a:srgbClr val="D6D3D6"/>
        </a:accent1>
        <a:accent2>
          <a:srgbClr val="07AFD7"/>
        </a:accent2>
        <a:accent3>
          <a:srgbClr val="FFFFFF"/>
        </a:accent3>
        <a:accent4>
          <a:srgbClr val="00275A"/>
        </a:accent4>
        <a:accent5>
          <a:srgbClr val="E8E6E8"/>
        </a:accent5>
        <a:accent6>
          <a:srgbClr val="069EC3"/>
        </a:accent6>
        <a:hlink>
          <a:srgbClr val="B6D2BB"/>
        </a:hlink>
        <a:folHlink>
          <a:srgbClr val="FFBA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apgemini_pptwhite 12">
        <a:dk1>
          <a:srgbClr val="00306B"/>
        </a:dk1>
        <a:lt1>
          <a:srgbClr val="FFFFFF"/>
        </a:lt1>
        <a:dk2>
          <a:srgbClr val="00659C"/>
        </a:dk2>
        <a:lt2>
          <a:srgbClr val="777777"/>
        </a:lt2>
        <a:accent1>
          <a:srgbClr val="D6D3D6"/>
        </a:accent1>
        <a:accent2>
          <a:srgbClr val="07AFD7"/>
        </a:accent2>
        <a:accent3>
          <a:srgbClr val="FFFFFF"/>
        </a:accent3>
        <a:accent4>
          <a:srgbClr val="00275A"/>
        </a:accent4>
        <a:accent5>
          <a:srgbClr val="E8E6E8"/>
        </a:accent5>
        <a:accent6>
          <a:srgbClr val="069EC3"/>
        </a:accent6>
        <a:hlink>
          <a:srgbClr val="00008E"/>
        </a:hlink>
        <a:folHlink>
          <a:srgbClr val="FFBA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apgemini_pptwhite 13">
        <a:dk1>
          <a:srgbClr val="292929"/>
        </a:dk1>
        <a:lt1>
          <a:srgbClr val="FFFFFF"/>
        </a:lt1>
        <a:dk2>
          <a:srgbClr val="00659C"/>
        </a:dk2>
        <a:lt2>
          <a:srgbClr val="777777"/>
        </a:lt2>
        <a:accent1>
          <a:srgbClr val="F7DFB5"/>
        </a:accent1>
        <a:accent2>
          <a:srgbClr val="4D4D4D"/>
        </a:accent2>
        <a:accent3>
          <a:srgbClr val="FFFFFF"/>
        </a:accent3>
        <a:accent4>
          <a:srgbClr val="212121"/>
        </a:accent4>
        <a:accent5>
          <a:srgbClr val="FAECD7"/>
        </a:accent5>
        <a:accent6>
          <a:srgbClr val="454545"/>
        </a:accent6>
        <a:hlink>
          <a:srgbClr val="C0C0C0"/>
        </a:hlink>
        <a:folHlink>
          <a:srgbClr val="00594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apgemini_pptwhite 14">
        <a:dk1>
          <a:srgbClr val="292929"/>
        </a:dk1>
        <a:lt1>
          <a:srgbClr val="FFFFFF"/>
        </a:lt1>
        <a:dk2>
          <a:srgbClr val="00659C"/>
        </a:dk2>
        <a:lt2>
          <a:srgbClr val="777777"/>
        </a:lt2>
        <a:accent1>
          <a:srgbClr val="B5AA84"/>
        </a:accent1>
        <a:accent2>
          <a:srgbClr val="DDDDDD"/>
        </a:accent2>
        <a:accent3>
          <a:srgbClr val="FFFFFF"/>
        </a:accent3>
        <a:accent4>
          <a:srgbClr val="212121"/>
        </a:accent4>
        <a:accent5>
          <a:srgbClr val="D7D2C2"/>
        </a:accent5>
        <a:accent6>
          <a:srgbClr val="C8C8C8"/>
        </a:accent6>
        <a:hlink>
          <a:srgbClr val="C0C0C0"/>
        </a:hlink>
        <a:folHlink>
          <a:srgbClr val="00594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apgemini_pptwhite 15">
        <a:dk1>
          <a:srgbClr val="292929"/>
        </a:dk1>
        <a:lt1>
          <a:srgbClr val="FFFFFF"/>
        </a:lt1>
        <a:dk2>
          <a:srgbClr val="00659C"/>
        </a:dk2>
        <a:lt2>
          <a:srgbClr val="777777"/>
        </a:lt2>
        <a:accent1>
          <a:srgbClr val="B5AA84"/>
        </a:accent1>
        <a:accent2>
          <a:srgbClr val="DDDDDD"/>
        </a:accent2>
        <a:accent3>
          <a:srgbClr val="FFFFFF"/>
        </a:accent3>
        <a:accent4>
          <a:srgbClr val="212121"/>
        </a:accent4>
        <a:accent5>
          <a:srgbClr val="D7D2C2"/>
        </a:accent5>
        <a:accent6>
          <a:srgbClr val="C8C8C8"/>
        </a:accent6>
        <a:hlink>
          <a:srgbClr val="F77900"/>
        </a:hlink>
        <a:folHlink>
          <a:srgbClr val="00594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apgemini_pptwhite 16">
        <a:dk1>
          <a:srgbClr val="292929"/>
        </a:dk1>
        <a:lt1>
          <a:srgbClr val="FFFFFF"/>
        </a:lt1>
        <a:dk2>
          <a:srgbClr val="00659C"/>
        </a:dk2>
        <a:lt2>
          <a:srgbClr val="777777"/>
        </a:lt2>
        <a:accent1>
          <a:srgbClr val="B5AA84"/>
        </a:accent1>
        <a:accent2>
          <a:srgbClr val="DDDDDD"/>
        </a:accent2>
        <a:accent3>
          <a:srgbClr val="FFFFFF"/>
        </a:accent3>
        <a:accent4>
          <a:srgbClr val="212121"/>
        </a:accent4>
        <a:accent5>
          <a:srgbClr val="D7D2C2"/>
        </a:accent5>
        <a:accent6>
          <a:srgbClr val="C8C8C8"/>
        </a:accent6>
        <a:hlink>
          <a:srgbClr val="F7DFB5"/>
        </a:hlink>
        <a:folHlink>
          <a:srgbClr val="00594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2940159531F9840AD110D230F87C98E" ma:contentTypeVersion="0" ma:contentTypeDescription="Create a new document." ma:contentTypeScope="" ma:versionID="0f60984163e91ec47d50b5e84dfa9869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c64490b4aec6201516c3a874156f37b2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D16BE1CC-7027-4FFD-BD6B-F336053CAA2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C0262164-7E38-4F57-B0A5-75A03F8DFB40}">
  <ds:schemaRefs>
    <ds:schemaRef ds:uri="http://schemas.microsoft.com/office/2006/metadata/properties"/>
  </ds:schemaRefs>
</ds:datastoreItem>
</file>

<file path=customXml/itemProps3.xml><?xml version="1.0" encoding="utf-8"?>
<ds:datastoreItem xmlns:ds="http://schemas.openxmlformats.org/officeDocument/2006/customXml" ds:itemID="{6D5B5E33-0747-4195-8F8A-F4B767B5119C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8267</TotalTime>
  <Words>2450</Words>
  <Application>Microsoft Office PowerPoint</Application>
  <PresentationFormat>On-screen Show (4:3)</PresentationFormat>
  <Paragraphs>383</Paragraphs>
  <Slides>37</Slides>
  <Notes>12</Notes>
  <HiddenSlides>0</HiddenSlides>
  <MMClips>0</MMClips>
  <ScaleCrop>false</ScaleCrop>
  <HeadingPairs>
    <vt:vector size="4" baseType="variant">
      <vt:variant>
        <vt:lpstr>Theme</vt:lpstr>
      </vt:variant>
      <vt:variant>
        <vt:i4>2</vt:i4>
      </vt:variant>
      <vt:variant>
        <vt:lpstr>Slide Titles</vt:lpstr>
      </vt:variant>
      <vt:variant>
        <vt:i4>37</vt:i4>
      </vt:variant>
    </vt:vector>
  </HeadingPairs>
  <TitlesOfParts>
    <vt:vector size="39" baseType="lpstr">
      <vt:lpstr>Office Theme</vt:lpstr>
      <vt:lpstr>1_Capgemini_pptwhite</vt:lpstr>
      <vt:lpstr>SAP FINANCIALS   Validations &amp; Substitutions </vt:lpstr>
      <vt:lpstr>COURSE OBJECTIVES</vt:lpstr>
      <vt:lpstr>CONTENTS</vt:lpstr>
      <vt:lpstr>CONTENTS</vt:lpstr>
      <vt:lpstr> Basics of Validations/Substitutions </vt:lpstr>
      <vt:lpstr>Meaning of Validations &amp; Substitutions</vt:lpstr>
      <vt:lpstr>Steps to execute Validation/Substitution</vt:lpstr>
      <vt:lpstr>Callup points</vt:lpstr>
      <vt:lpstr>Formula editor</vt:lpstr>
      <vt:lpstr>Assignment and Activation</vt:lpstr>
      <vt:lpstr>Preventing the Fields from Being Used </vt:lpstr>
      <vt:lpstr>Basics of Validations/Substitutions</vt:lpstr>
      <vt:lpstr>CONTENTS</vt:lpstr>
      <vt:lpstr> Validations in Financial Accounting </vt:lpstr>
      <vt:lpstr>Validation Procedure</vt:lpstr>
      <vt:lpstr>Validation Messages</vt:lpstr>
      <vt:lpstr>Field Comparisons</vt:lpstr>
      <vt:lpstr>Validation Configuration (T Code: OB28)</vt:lpstr>
      <vt:lpstr>Validation Configuration (T Code: OB28) Cont…</vt:lpstr>
      <vt:lpstr>Validation Configuration (T Code: OB28) Cont…</vt:lpstr>
      <vt:lpstr>Validation Configuration (T Code: OB28) Cont…</vt:lpstr>
      <vt:lpstr>Validation Configuration (T Code: OB28) Cont…</vt:lpstr>
      <vt:lpstr> Validations in Financial Accounting </vt:lpstr>
      <vt:lpstr>CONTENTS</vt:lpstr>
      <vt:lpstr>Substitutions in Financial Accounting</vt:lpstr>
      <vt:lpstr>Meaning and Substitution Procedure</vt:lpstr>
      <vt:lpstr>Substitution Methods</vt:lpstr>
      <vt:lpstr>Substitution Methods</vt:lpstr>
      <vt:lpstr>Substitutions in Financial Accounting</vt:lpstr>
      <vt:lpstr>CONTENTS</vt:lpstr>
      <vt:lpstr>Rules and Sets</vt:lpstr>
      <vt:lpstr>Rules</vt:lpstr>
      <vt:lpstr>Sets</vt:lpstr>
      <vt:lpstr>Menu Paths</vt:lpstr>
      <vt:lpstr>Rules and Sets</vt:lpstr>
      <vt:lpstr>Validations and Substitutions: Exercise Time</vt:lpstr>
      <vt:lpstr>COURSE SUMMARY</vt:lpstr>
    </vt:vector>
  </TitlesOfParts>
  <Company>%CAPGEMINIE%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AP FINANCIALS : NEW GL</dc:title>
  <dc:creator>raghuram</dc:creator>
  <cp:lastModifiedBy>mogani</cp:lastModifiedBy>
  <cp:revision>398</cp:revision>
  <dcterms:created xsi:type="dcterms:W3CDTF">2010-07-21T10:36:40Z</dcterms:created>
  <dcterms:modified xsi:type="dcterms:W3CDTF">2018-03-01T09:46:0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2940159531F9840AD110D230F87C98E</vt:lpwstr>
  </property>
</Properties>
</file>